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2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3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4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3" r:id="rId2"/>
    <p:sldMasterId id="2147483763" r:id="rId3"/>
  </p:sldMasterIdLst>
  <p:notesMasterIdLst>
    <p:notesMasterId r:id="rId17"/>
  </p:notesMasterIdLst>
  <p:sldIdLst>
    <p:sldId id="2147373940" r:id="rId4"/>
    <p:sldId id="2147373992" r:id="rId5"/>
    <p:sldId id="2147373982" r:id="rId6"/>
    <p:sldId id="2147373993" r:id="rId7"/>
    <p:sldId id="2147373994" r:id="rId8"/>
    <p:sldId id="2147373995" r:id="rId9"/>
    <p:sldId id="2147373996" r:id="rId10"/>
    <p:sldId id="2147373997" r:id="rId11"/>
    <p:sldId id="2147373999" r:id="rId12"/>
    <p:sldId id="2147374000" r:id="rId13"/>
    <p:sldId id="2147373981" r:id="rId14"/>
    <p:sldId id="2147374001" r:id="rId15"/>
    <p:sldId id="2134805213" r:id="rId16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83858"/>
    <a:srgbClr val="FFFFFF"/>
    <a:srgbClr val="002060"/>
    <a:srgbClr val="C0D7EE"/>
    <a:srgbClr val="ADEEE7"/>
    <a:srgbClr val="A9C0EE"/>
    <a:srgbClr val="F1F3F5"/>
    <a:srgbClr val="C8102E"/>
    <a:srgbClr val="D1D7DE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C5626EF-A8F5-4748-8E23-70D09DE2D53E}" v="1" dt="2024-04-21T06:34:06.5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59" autoAdjust="0"/>
    <p:restoredTop sz="91589" autoAdjust="0"/>
  </p:normalViewPr>
  <p:slideViewPr>
    <p:cSldViewPr snapToGrid="0">
      <p:cViewPr varScale="1">
        <p:scale>
          <a:sx n="72" d="100"/>
          <a:sy n="72" d="100"/>
        </p:scale>
        <p:origin x="612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hmo Jouni" userId="4ca213fa-a866-453f-972b-b162878f815c" providerId="ADAL" clId="{7C45968F-FBFB-4BAB-A35C-A893EE3AEECF}"/>
    <pc:docChg chg="undo redo custSel addSld delSld modSld sldOrd delMainMaster">
      <pc:chgData name="Vihmo Jouni" userId="4ca213fa-a866-453f-972b-b162878f815c" providerId="ADAL" clId="{7C45968F-FBFB-4BAB-A35C-A893EE3AEECF}" dt="2024-04-12T06:49:31.160" v="3213" actId="1076"/>
      <pc:docMkLst>
        <pc:docMk/>
      </pc:docMkLst>
      <pc:sldChg chg="add del">
        <pc:chgData name="Vihmo Jouni" userId="4ca213fa-a866-453f-972b-b162878f815c" providerId="ADAL" clId="{7C45968F-FBFB-4BAB-A35C-A893EE3AEECF}" dt="2024-04-12T05:43:23.368" v="3198" actId="47"/>
        <pc:sldMkLst>
          <pc:docMk/>
          <pc:sldMk cId="4205315300" sldId="258"/>
        </pc:sldMkLst>
      </pc:sldChg>
      <pc:sldChg chg="delSp modSp add del mod setBg">
        <pc:chgData name="Vihmo Jouni" userId="4ca213fa-a866-453f-972b-b162878f815c" providerId="ADAL" clId="{7C45968F-FBFB-4BAB-A35C-A893EE3AEECF}" dt="2024-04-12T05:08:23.961" v="2925" actId="47"/>
        <pc:sldMkLst>
          <pc:docMk/>
          <pc:sldMk cId="2888845896" sldId="2134804990"/>
        </pc:sldMkLst>
        <pc:spChg chg="del">
          <ac:chgData name="Vihmo Jouni" userId="4ca213fa-a866-453f-972b-b162878f815c" providerId="ADAL" clId="{7C45968F-FBFB-4BAB-A35C-A893EE3AEECF}" dt="2024-04-12T05:07:38.789" v="2918" actId="21"/>
          <ac:spMkLst>
            <pc:docMk/>
            <pc:sldMk cId="2888845896" sldId="2134804990"/>
            <ac:spMk id="4" creationId="{47B29CDB-D054-433F-B167-0BE15C970798}"/>
          </ac:spMkLst>
        </pc:spChg>
        <pc:spChg chg="del">
          <ac:chgData name="Vihmo Jouni" userId="4ca213fa-a866-453f-972b-b162878f815c" providerId="ADAL" clId="{7C45968F-FBFB-4BAB-A35C-A893EE3AEECF}" dt="2024-04-12T05:07:38.789" v="2918" actId="21"/>
          <ac:spMkLst>
            <pc:docMk/>
            <pc:sldMk cId="2888845896" sldId="2134804990"/>
            <ac:spMk id="10" creationId="{DD638BA5-ABF4-40F5-B0F9-BDA1C18C05C9}"/>
          </ac:spMkLst>
        </pc:spChg>
        <pc:spChg chg="del">
          <ac:chgData name="Vihmo Jouni" userId="4ca213fa-a866-453f-972b-b162878f815c" providerId="ADAL" clId="{7C45968F-FBFB-4BAB-A35C-A893EE3AEECF}" dt="2024-04-12T05:07:38.789" v="2918" actId="21"/>
          <ac:spMkLst>
            <pc:docMk/>
            <pc:sldMk cId="2888845896" sldId="2134804990"/>
            <ac:spMk id="12" creationId="{6ECA4CA0-F8DA-495B-9B3F-290C70B9D366}"/>
          </ac:spMkLst>
        </pc:spChg>
        <pc:spChg chg="del">
          <ac:chgData name="Vihmo Jouni" userId="4ca213fa-a866-453f-972b-b162878f815c" providerId="ADAL" clId="{7C45968F-FBFB-4BAB-A35C-A893EE3AEECF}" dt="2024-04-12T05:07:38.789" v="2918" actId="21"/>
          <ac:spMkLst>
            <pc:docMk/>
            <pc:sldMk cId="2888845896" sldId="2134804990"/>
            <ac:spMk id="14" creationId="{39EF32B9-A6B1-4E9A-BB74-01A0D79073A3}"/>
          </ac:spMkLst>
        </pc:spChg>
        <pc:spChg chg="del">
          <ac:chgData name="Vihmo Jouni" userId="4ca213fa-a866-453f-972b-b162878f815c" providerId="ADAL" clId="{7C45968F-FBFB-4BAB-A35C-A893EE3AEECF}" dt="2024-04-12T05:07:38.789" v="2918" actId="21"/>
          <ac:spMkLst>
            <pc:docMk/>
            <pc:sldMk cId="2888845896" sldId="2134804990"/>
            <ac:spMk id="17" creationId="{EEA8D3E8-1DC2-4690-AACB-F95341B343B9}"/>
          </ac:spMkLst>
        </pc:spChg>
        <pc:spChg chg="del">
          <ac:chgData name="Vihmo Jouni" userId="4ca213fa-a866-453f-972b-b162878f815c" providerId="ADAL" clId="{7C45968F-FBFB-4BAB-A35C-A893EE3AEECF}" dt="2024-04-12T05:07:38.789" v="2918" actId="21"/>
          <ac:spMkLst>
            <pc:docMk/>
            <pc:sldMk cId="2888845896" sldId="2134804990"/>
            <ac:spMk id="18" creationId="{66A65033-9DCA-46C1-B545-20D72FE99627}"/>
          </ac:spMkLst>
        </pc:spChg>
        <pc:spChg chg="del">
          <ac:chgData name="Vihmo Jouni" userId="4ca213fa-a866-453f-972b-b162878f815c" providerId="ADAL" clId="{7C45968F-FBFB-4BAB-A35C-A893EE3AEECF}" dt="2024-04-12T05:07:38.789" v="2918" actId="21"/>
          <ac:spMkLst>
            <pc:docMk/>
            <pc:sldMk cId="2888845896" sldId="2134804990"/>
            <ac:spMk id="21" creationId="{98E45248-309A-4AF1-AB7E-CDB7AA894AD1}"/>
          </ac:spMkLst>
        </pc:spChg>
        <pc:spChg chg="mod">
          <ac:chgData name="Vihmo Jouni" userId="4ca213fa-a866-453f-972b-b162878f815c" providerId="ADAL" clId="{7C45968F-FBFB-4BAB-A35C-A893EE3AEECF}" dt="2024-04-12T05:04:54.917" v="2892" actId="207"/>
          <ac:spMkLst>
            <pc:docMk/>
            <pc:sldMk cId="2888845896" sldId="2134804990"/>
            <ac:spMk id="23" creationId="{E88CBC6A-E0D4-4FFF-A444-1B0CE0E19188}"/>
          </ac:spMkLst>
        </pc:spChg>
      </pc:sldChg>
      <pc:sldChg chg="addSp delSp modSp add del mod ord setBg modClrScheme chgLayout">
        <pc:chgData name="Vihmo Jouni" userId="4ca213fa-a866-453f-972b-b162878f815c" providerId="ADAL" clId="{7C45968F-FBFB-4BAB-A35C-A893EE3AEECF}" dt="2024-04-12T06:41:12.482" v="3200"/>
        <pc:sldMkLst>
          <pc:docMk/>
          <pc:sldMk cId="1971747098" sldId="2134805007"/>
        </pc:sldMkLst>
        <pc:spChg chg="mod ord">
          <ac:chgData name="Vihmo Jouni" userId="4ca213fa-a866-453f-972b-b162878f815c" providerId="ADAL" clId="{7C45968F-FBFB-4BAB-A35C-A893EE3AEECF}" dt="2024-04-12T05:34:30.551" v="3080" actId="700"/>
          <ac:spMkLst>
            <pc:docMk/>
            <pc:sldMk cId="1971747098" sldId="2134805007"/>
            <ac:spMk id="2" creationId="{3069F8F7-153E-4D44-9A4E-060327255B4F}"/>
          </ac:spMkLst>
        </pc:spChg>
        <pc:spChg chg="add del mod ord">
          <ac:chgData name="Vihmo Jouni" userId="4ca213fa-a866-453f-972b-b162878f815c" providerId="ADAL" clId="{7C45968F-FBFB-4BAB-A35C-A893EE3AEECF}" dt="2024-04-12T05:34:30.551" v="3080" actId="700"/>
          <ac:spMkLst>
            <pc:docMk/>
            <pc:sldMk cId="1971747098" sldId="2134805007"/>
            <ac:spMk id="3" creationId="{F2ACB8C7-7009-59B1-BA3E-E1C98908AC74}"/>
          </ac:spMkLst>
        </pc:spChg>
        <pc:spChg chg="mod ord">
          <ac:chgData name="Vihmo Jouni" userId="4ca213fa-a866-453f-972b-b162878f815c" providerId="ADAL" clId="{7C45968F-FBFB-4BAB-A35C-A893EE3AEECF}" dt="2024-04-12T05:34:30.551" v="3080" actId="700"/>
          <ac:spMkLst>
            <pc:docMk/>
            <pc:sldMk cId="1971747098" sldId="2134805007"/>
            <ac:spMk id="4" creationId="{1DA3BBD3-1A2C-4C9F-B0CC-FF39DD51C185}"/>
          </ac:spMkLst>
        </pc:spChg>
        <pc:spChg chg="add del mod ord">
          <ac:chgData name="Vihmo Jouni" userId="4ca213fa-a866-453f-972b-b162878f815c" providerId="ADAL" clId="{7C45968F-FBFB-4BAB-A35C-A893EE3AEECF}" dt="2024-04-12T05:34:30.551" v="3080" actId="700"/>
          <ac:spMkLst>
            <pc:docMk/>
            <pc:sldMk cId="1971747098" sldId="2134805007"/>
            <ac:spMk id="5" creationId="{65E47AF9-2F27-3CAE-A872-A788AF767C4A}"/>
          </ac:spMkLst>
        </pc:spChg>
        <pc:spChg chg="add mod ord">
          <ac:chgData name="Vihmo Jouni" userId="4ca213fa-a866-453f-972b-b162878f815c" providerId="ADAL" clId="{7C45968F-FBFB-4BAB-A35C-A893EE3AEECF}" dt="2024-04-12T05:35:15.503" v="3094" actId="20577"/>
          <ac:spMkLst>
            <pc:docMk/>
            <pc:sldMk cId="1971747098" sldId="2134805007"/>
            <ac:spMk id="6" creationId="{662F0BBE-0B22-435E-11B3-0D2C828D7EFE}"/>
          </ac:spMkLst>
        </pc:spChg>
        <pc:spChg chg="mod">
          <ac:chgData name="Vihmo Jouni" userId="4ca213fa-a866-453f-972b-b162878f815c" providerId="ADAL" clId="{7C45968F-FBFB-4BAB-A35C-A893EE3AEECF}" dt="2024-04-12T05:35:37.286" v="3099" actId="1076"/>
          <ac:spMkLst>
            <pc:docMk/>
            <pc:sldMk cId="1971747098" sldId="2134805007"/>
            <ac:spMk id="14" creationId="{6951949A-A691-4F36-B256-DCA342975FF4}"/>
          </ac:spMkLst>
        </pc:spChg>
        <pc:spChg chg="add del mod">
          <ac:chgData name="Vihmo Jouni" userId="4ca213fa-a866-453f-972b-b162878f815c" providerId="ADAL" clId="{7C45968F-FBFB-4BAB-A35C-A893EE3AEECF}" dt="2024-04-12T05:34:52.507" v="3086"/>
          <ac:spMkLst>
            <pc:docMk/>
            <pc:sldMk cId="1971747098" sldId="2134805007"/>
            <ac:spMk id="15" creationId="{B7A35BDB-C64A-49FB-9271-E05A4C887CF2}"/>
          </ac:spMkLst>
        </pc:spChg>
        <pc:picChg chg="mod">
          <ac:chgData name="Vihmo Jouni" userId="4ca213fa-a866-453f-972b-b162878f815c" providerId="ADAL" clId="{7C45968F-FBFB-4BAB-A35C-A893EE3AEECF}" dt="2024-04-12T05:35:32.389" v="3098" actId="1076"/>
          <ac:picMkLst>
            <pc:docMk/>
            <pc:sldMk cId="1971747098" sldId="2134805007"/>
            <ac:picMk id="12" creationId="{F2C5DD25-BB8E-43C1-9C9A-6C988F7CB911}"/>
          </ac:picMkLst>
        </pc:picChg>
      </pc:sldChg>
      <pc:sldChg chg="addSp delSp modSp add del mod modClrScheme chgLayout">
        <pc:chgData name="Vihmo Jouni" userId="4ca213fa-a866-453f-972b-b162878f815c" providerId="ADAL" clId="{7C45968F-FBFB-4BAB-A35C-A893EE3AEECF}" dt="2024-04-12T05:07:16.800" v="2914" actId="47"/>
        <pc:sldMkLst>
          <pc:docMk/>
          <pc:sldMk cId="3743008055" sldId="2134805209"/>
        </pc:sldMkLst>
        <pc:spChg chg="add mod">
          <ac:chgData name="Vihmo Jouni" userId="4ca213fa-a866-453f-972b-b162878f815c" providerId="ADAL" clId="{7C45968F-FBFB-4BAB-A35C-A893EE3AEECF}" dt="2024-04-12T05:04:09.590" v="2890" actId="113"/>
          <ac:spMkLst>
            <pc:docMk/>
            <pc:sldMk cId="3743008055" sldId="2134805209"/>
            <ac:spMk id="2" creationId="{06466424-6EE6-63BD-345B-7026821E816D}"/>
          </ac:spMkLst>
        </pc:spChg>
        <pc:spChg chg="add del mod ord">
          <ac:chgData name="Vihmo Jouni" userId="4ca213fa-a866-453f-972b-b162878f815c" providerId="ADAL" clId="{7C45968F-FBFB-4BAB-A35C-A893EE3AEECF}" dt="2024-04-12T05:06:33.441" v="2905" actId="700"/>
          <ac:spMkLst>
            <pc:docMk/>
            <pc:sldMk cId="3743008055" sldId="2134805209"/>
            <ac:spMk id="3" creationId="{05DF943B-A31D-FC54-8843-84FCBDAB6719}"/>
          </ac:spMkLst>
        </pc:spChg>
        <pc:spChg chg="add del mod">
          <ac:chgData name="Vihmo Jouni" userId="4ca213fa-a866-453f-972b-b162878f815c" providerId="ADAL" clId="{7C45968F-FBFB-4BAB-A35C-A893EE3AEECF}" dt="2024-04-12T05:06:32.256" v="2904" actId="478"/>
          <ac:spMkLst>
            <pc:docMk/>
            <pc:sldMk cId="3743008055" sldId="2134805209"/>
            <ac:spMk id="4" creationId="{B2ECEF8F-7DA8-AE90-0C60-6B37683A5663}"/>
          </ac:spMkLst>
        </pc:spChg>
        <pc:spChg chg="add del mod ord">
          <ac:chgData name="Vihmo Jouni" userId="4ca213fa-a866-453f-972b-b162878f815c" providerId="ADAL" clId="{7C45968F-FBFB-4BAB-A35C-A893EE3AEECF}" dt="2024-04-12T05:06:33.441" v="2905" actId="700"/>
          <ac:spMkLst>
            <pc:docMk/>
            <pc:sldMk cId="3743008055" sldId="2134805209"/>
            <ac:spMk id="5" creationId="{C60BFF46-7E9A-B9A8-45BA-DCF5EFC28317}"/>
          </ac:spMkLst>
        </pc:spChg>
        <pc:spChg chg="del mod">
          <ac:chgData name="Vihmo Jouni" userId="4ca213fa-a866-453f-972b-b162878f815c" providerId="ADAL" clId="{7C45968F-FBFB-4BAB-A35C-A893EE3AEECF}" dt="2024-04-12T05:03:52.412" v="2888" actId="478"/>
          <ac:spMkLst>
            <pc:docMk/>
            <pc:sldMk cId="3743008055" sldId="2134805209"/>
            <ac:spMk id="6" creationId="{9DD92F4C-5C7F-3F69-958B-B81D054333E6}"/>
          </ac:spMkLst>
        </pc:spChg>
      </pc:sldChg>
      <pc:sldChg chg="addSp delSp modSp add mod">
        <pc:chgData name="Vihmo Jouni" userId="4ca213fa-a866-453f-972b-b162878f815c" providerId="ADAL" clId="{7C45968F-FBFB-4BAB-A35C-A893EE3AEECF}" dt="2024-04-12T05:37:12.073" v="3108"/>
        <pc:sldMkLst>
          <pc:docMk/>
          <pc:sldMk cId="2543273729" sldId="2134805213"/>
        </pc:sldMkLst>
        <pc:spChg chg="add mod">
          <ac:chgData name="Vihmo Jouni" userId="4ca213fa-a866-453f-972b-b162878f815c" providerId="ADAL" clId="{7C45968F-FBFB-4BAB-A35C-A893EE3AEECF}" dt="2024-04-12T05:36:54.361" v="3107" actId="2711"/>
          <ac:spMkLst>
            <pc:docMk/>
            <pc:sldMk cId="2543273729" sldId="2134805213"/>
            <ac:spMk id="2" creationId="{6D436C11-B1B1-CB5A-D98C-6E8EC193DA94}"/>
          </ac:spMkLst>
        </pc:spChg>
        <pc:spChg chg="add mod">
          <ac:chgData name="Vihmo Jouni" userId="4ca213fa-a866-453f-972b-b162878f815c" providerId="ADAL" clId="{7C45968F-FBFB-4BAB-A35C-A893EE3AEECF}" dt="2024-04-12T05:37:12.073" v="3108"/>
          <ac:spMkLst>
            <pc:docMk/>
            <pc:sldMk cId="2543273729" sldId="2134805213"/>
            <ac:spMk id="3" creationId="{1684D4C2-DE21-58CC-E78E-DF8967C0C323}"/>
          </ac:spMkLst>
        </pc:spChg>
        <pc:spChg chg="del mod">
          <ac:chgData name="Vihmo Jouni" userId="4ca213fa-a866-453f-972b-b162878f815c" providerId="ADAL" clId="{7C45968F-FBFB-4BAB-A35C-A893EE3AEECF}" dt="2024-04-12T05:36:12.524" v="3103" actId="478"/>
          <ac:spMkLst>
            <pc:docMk/>
            <pc:sldMk cId="2543273729" sldId="2134805213"/>
            <ac:spMk id="4" creationId="{B2ECEF8F-7DA8-AE90-0C60-6B37683A5663}"/>
          </ac:spMkLst>
        </pc:spChg>
        <pc:spChg chg="add mod">
          <ac:chgData name="Vihmo Jouni" userId="4ca213fa-a866-453f-972b-b162878f815c" providerId="ADAL" clId="{7C45968F-FBFB-4BAB-A35C-A893EE3AEECF}" dt="2024-04-12T05:37:12.073" v="3108"/>
          <ac:spMkLst>
            <pc:docMk/>
            <pc:sldMk cId="2543273729" sldId="2134805213"/>
            <ac:spMk id="6" creationId="{F8A8E125-92EE-5DFE-E44D-E2EAD12B1526}"/>
          </ac:spMkLst>
        </pc:spChg>
        <pc:spChg chg="del">
          <ac:chgData name="Vihmo Jouni" userId="4ca213fa-a866-453f-972b-b162878f815c" providerId="ADAL" clId="{7C45968F-FBFB-4BAB-A35C-A893EE3AEECF}" dt="2024-04-12T05:16:16.660" v="2943" actId="478"/>
          <ac:spMkLst>
            <pc:docMk/>
            <pc:sldMk cId="2543273729" sldId="2134805213"/>
            <ac:spMk id="7" creationId="{7EF2FD54-2EBB-178D-1D85-9ADDB2687082}"/>
          </ac:spMkLst>
        </pc:spChg>
        <pc:spChg chg="add mod">
          <ac:chgData name="Vihmo Jouni" userId="4ca213fa-a866-453f-972b-b162878f815c" providerId="ADAL" clId="{7C45968F-FBFB-4BAB-A35C-A893EE3AEECF}" dt="2024-04-12T05:37:12.073" v="3108"/>
          <ac:spMkLst>
            <pc:docMk/>
            <pc:sldMk cId="2543273729" sldId="2134805213"/>
            <ac:spMk id="8" creationId="{FCD3BCD6-792F-593F-B96D-2E872920FBF7}"/>
          </ac:spMkLst>
        </pc:spChg>
      </pc:sldChg>
      <pc:sldChg chg="del">
        <pc:chgData name="Vihmo Jouni" userId="4ca213fa-a866-453f-972b-b162878f815c" providerId="ADAL" clId="{7C45968F-FBFB-4BAB-A35C-A893EE3AEECF}" dt="2024-04-10T11:18:34.286" v="160" actId="47"/>
        <pc:sldMkLst>
          <pc:docMk/>
          <pc:sldMk cId="829713854" sldId="2147373830"/>
        </pc:sldMkLst>
      </pc:sldChg>
      <pc:sldChg chg="add del">
        <pc:chgData name="Vihmo Jouni" userId="4ca213fa-a866-453f-972b-b162878f815c" providerId="ADAL" clId="{7C45968F-FBFB-4BAB-A35C-A893EE3AEECF}" dt="2024-04-12T05:43:22.741" v="3197" actId="47"/>
        <pc:sldMkLst>
          <pc:docMk/>
          <pc:sldMk cId="3497502647" sldId="2147373839"/>
        </pc:sldMkLst>
      </pc:sldChg>
      <pc:sldChg chg="ord">
        <pc:chgData name="Vihmo Jouni" userId="4ca213fa-a866-453f-972b-b162878f815c" providerId="ADAL" clId="{7C45968F-FBFB-4BAB-A35C-A893EE3AEECF}" dt="2024-04-12T05:40:41.259" v="3137"/>
        <pc:sldMkLst>
          <pc:docMk/>
          <pc:sldMk cId="301298876" sldId="2147373856"/>
        </pc:sldMkLst>
      </pc:sldChg>
      <pc:sldChg chg="del">
        <pc:chgData name="Vihmo Jouni" userId="4ca213fa-a866-453f-972b-b162878f815c" providerId="ADAL" clId="{7C45968F-FBFB-4BAB-A35C-A893EE3AEECF}" dt="2024-04-10T11:12:51.631" v="157" actId="47"/>
        <pc:sldMkLst>
          <pc:docMk/>
          <pc:sldMk cId="1597257533" sldId="2147373866"/>
        </pc:sldMkLst>
      </pc:sldChg>
      <pc:sldChg chg="ord">
        <pc:chgData name="Vihmo Jouni" userId="4ca213fa-a866-453f-972b-b162878f815c" providerId="ADAL" clId="{7C45968F-FBFB-4BAB-A35C-A893EE3AEECF}" dt="2024-04-12T05:40:16.368" v="3135"/>
        <pc:sldMkLst>
          <pc:docMk/>
          <pc:sldMk cId="2037775661" sldId="2147373915"/>
        </pc:sldMkLst>
      </pc:sldChg>
      <pc:sldChg chg="ord">
        <pc:chgData name="Vihmo Jouni" userId="4ca213fa-a866-453f-972b-b162878f815c" providerId="ADAL" clId="{7C45968F-FBFB-4BAB-A35C-A893EE3AEECF}" dt="2024-04-12T06:42:02.424" v="3205" actId="20578"/>
        <pc:sldMkLst>
          <pc:docMk/>
          <pc:sldMk cId="1445306898" sldId="2147373920"/>
        </pc:sldMkLst>
      </pc:sldChg>
      <pc:sldChg chg="ord">
        <pc:chgData name="Vihmo Jouni" userId="4ca213fa-a866-453f-972b-b162878f815c" providerId="ADAL" clId="{7C45968F-FBFB-4BAB-A35C-A893EE3AEECF}" dt="2024-04-12T05:43:15.353" v="3194"/>
        <pc:sldMkLst>
          <pc:docMk/>
          <pc:sldMk cId="3271111458" sldId="2147373931"/>
        </pc:sldMkLst>
      </pc:sldChg>
      <pc:sldChg chg="ord">
        <pc:chgData name="Vihmo Jouni" userId="4ca213fa-a866-453f-972b-b162878f815c" providerId="ADAL" clId="{7C45968F-FBFB-4BAB-A35C-A893EE3AEECF}" dt="2024-04-12T06:41:28.727" v="3202"/>
        <pc:sldMkLst>
          <pc:docMk/>
          <pc:sldMk cId="2409160647" sldId="2147373933"/>
        </pc:sldMkLst>
      </pc:sldChg>
      <pc:sldChg chg="modSp mod ord">
        <pc:chgData name="Vihmo Jouni" userId="4ca213fa-a866-453f-972b-b162878f815c" providerId="ADAL" clId="{7C45968F-FBFB-4BAB-A35C-A893EE3AEECF}" dt="2024-04-12T05:01:03.070" v="2787"/>
        <pc:sldMkLst>
          <pc:docMk/>
          <pc:sldMk cId="2835475025" sldId="2147373939"/>
        </pc:sldMkLst>
        <pc:spChg chg="mod">
          <ac:chgData name="Vihmo Jouni" userId="4ca213fa-a866-453f-972b-b162878f815c" providerId="ADAL" clId="{7C45968F-FBFB-4BAB-A35C-A893EE3AEECF}" dt="2024-04-10T11:09:01.918" v="1" actId="20577"/>
          <ac:spMkLst>
            <pc:docMk/>
            <pc:sldMk cId="2835475025" sldId="2147373939"/>
            <ac:spMk id="8" creationId="{6005CD1D-8460-6715-A56B-929B090479CD}"/>
          </ac:spMkLst>
        </pc:spChg>
      </pc:sldChg>
      <pc:sldChg chg="modSp add mod ord">
        <pc:chgData name="Vihmo Jouni" userId="4ca213fa-a866-453f-972b-b162878f815c" providerId="ADAL" clId="{7C45968F-FBFB-4BAB-A35C-A893EE3AEECF}" dt="2024-04-12T05:01:42.308" v="2792" actId="1076"/>
        <pc:sldMkLst>
          <pc:docMk/>
          <pc:sldMk cId="3662964321" sldId="2147373940"/>
        </pc:sldMkLst>
        <pc:spChg chg="mod">
          <ac:chgData name="Vihmo Jouni" userId="4ca213fa-a866-453f-972b-b162878f815c" providerId="ADAL" clId="{7C45968F-FBFB-4BAB-A35C-A893EE3AEECF}" dt="2024-04-10T11:10:14.927" v="76" actId="20577"/>
          <ac:spMkLst>
            <pc:docMk/>
            <pc:sldMk cId="3662964321" sldId="2147373940"/>
            <ac:spMk id="8" creationId="{6005CD1D-8460-6715-A56B-929B090479CD}"/>
          </ac:spMkLst>
        </pc:spChg>
        <pc:spChg chg="mod">
          <ac:chgData name="Vihmo Jouni" userId="4ca213fa-a866-453f-972b-b162878f815c" providerId="ADAL" clId="{7C45968F-FBFB-4BAB-A35C-A893EE3AEECF}" dt="2024-04-12T05:01:39.436" v="2791" actId="1076"/>
          <ac:spMkLst>
            <pc:docMk/>
            <pc:sldMk cId="3662964321" sldId="2147373940"/>
            <ac:spMk id="11" creationId="{D7A2B23C-0250-585B-3100-5B3F663627A6}"/>
          </ac:spMkLst>
        </pc:spChg>
        <pc:spChg chg="mod">
          <ac:chgData name="Vihmo Jouni" userId="4ca213fa-a866-453f-972b-b162878f815c" providerId="ADAL" clId="{7C45968F-FBFB-4BAB-A35C-A893EE3AEECF}" dt="2024-04-12T05:01:42.308" v="2792" actId="1076"/>
          <ac:spMkLst>
            <pc:docMk/>
            <pc:sldMk cId="3662964321" sldId="2147373940"/>
            <ac:spMk id="12" creationId="{D8BFDA3F-FFAB-9A2A-A081-13C25577DFE7}"/>
          </ac:spMkLst>
        </pc:spChg>
        <pc:picChg chg="mod">
          <ac:chgData name="Vihmo Jouni" userId="4ca213fa-a866-453f-972b-b162878f815c" providerId="ADAL" clId="{7C45968F-FBFB-4BAB-A35C-A893EE3AEECF}" dt="2024-04-12T05:01:22.403" v="2790" actId="1076"/>
          <ac:picMkLst>
            <pc:docMk/>
            <pc:sldMk cId="3662964321" sldId="2147373940"/>
            <ac:picMk id="9" creationId="{D9B721B1-3545-A0E0-BB4A-48A1E87CDE32}"/>
          </ac:picMkLst>
        </pc:picChg>
      </pc:sldChg>
      <pc:sldChg chg="addSp delSp modSp new mod ord">
        <pc:chgData name="Vihmo Jouni" userId="4ca213fa-a866-453f-972b-b162878f815c" providerId="ADAL" clId="{7C45968F-FBFB-4BAB-A35C-A893EE3AEECF}" dt="2024-04-12T06:49:31.160" v="3213" actId="1076"/>
        <pc:sldMkLst>
          <pc:docMk/>
          <pc:sldMk cId="2082249119" sldId="2147373941"/>
        </pc:sldMkLst>
        <pc:spChg chg="del">
          <ac:chgData name="Vihmo Jouni" userId="4ca213fa-a866-453f-972b-b162878f815c" providerId="ADAL" clId="{7C45968F-FBFB-4BAB-A35C-A893EE3AEECF}" dt="2024-04-10T11:17:01.996" v="159" actId="22"/>
          <ac:spMkLst>
            <pc:docMk/>
            <pc:sldMk cId="2082249119" sldId="2147373941"/>
            <ac:spMk id="3" creationId="{820FD17E-5877-EBDC-BCBA-422A750B37AE}"/>
          </ac:spMkLst>
        </pc:spChg>
        <pc:spChg chg="del">
          <ac:chgData name="Vihmo Jouni" userId="4ca213fa-a866-453f-972b-b162878f815c" providerId="ADAL" clId="{7C45968F-FBFB-4BAB-A35C-A893EE3AEECF}" dt="2024-04-12T06:49:28.566" v="3211" actId="478"/>
          <ac:spMkLst>
            <pc:docMk/>
            <pc:sldMk cId="2082249119" sldId="2147373941"/>
            <ac:spMk id="4" creationId="{F3F08A84-B040-2BE0-B440-ECAD522EB4A0}"/>
          </ac:spMkLst>
        </pc:spChg>
        <pc:picChg chg="add mod ord">
          <ac:chgData name="Vihmo Jouni" userId="4ca213fa-a866-453f-972b-b162878f815c" providerId="ADAL" clId="{7C45968F-FBFB-4BAB-A35C-A893EE3AEECF}" dt="2024-04-12T06:49:31.160" v="3213" actId="1076"/>
          <ac:picMkLst>
            <pc:docMk/>
            <pc:sldMk cId="2082249119" sldId="2147373941"/>
            <ac:picMk id="9" creationId="{74898052-4109-9B3E-BEF3-A0F370F2FA3A}"/>
          </ac:picMkLst>
        </pc:picChg>
      </pc:sldChg>
      <pc:sldChg chg="addSp delSp modSp new mod ord chgLayout">
        <pc:chgData name="Vihmo Jouni" userId="4ca213fa-a866-453f-972b-b162878f815c" providerId="ADAL" clId="{7C45968F-FBFB-4BAB-A35C-A893EE3AEECF}" dt="2024-04-12T05:35:44.549" v="3101"/>
        <pc:sldMkLst>
          <pc:docMk/>
          <pc:sldMk cId="677702120" sldId="2147373942"/>
        </pc:sldMkLst>
        <pc:spChg chg="mod ord">
          <ac:chgData name="Vihmo Jouni" userId="4ca213fa-a866-453f-972b-b162878f815c" providerId="ADAL" clId="{7C45968F-FBFB-4BAB-A35C-A893EE3AEECF}" dt="2024-04-10T12:08:56.800" v="2438" actId="700"/>
          <ac:spMkLst>
            <pc:docMk/>
            <pc:sldMk cId="677702120" sldId="2147373942"/>
            <ac:spMk id="2" creationId="{D366E8A9-5522-5D73-5B97-385E5FAC4F1C}"/>
          </ac:spMkLst>
        </pc:spChg>
        <pc:spChg chg="mod ord">
          <ac:chgData name="Vihmo Jouni" userId="4ca213fa-a866-453f-972b-b162878f815c" providerId="ADAL" clId="{7C45968F-FBFB-4BAB-A35C-A893EE3AEECF}" dt="2024-04-10T12:30:16.014" v="2783" actId="20577"/>
          <ac:spMkLst>
            <pc:docMk/>
            <pc:sldMk cId="677702120" sldId="2147373942"/>
            <ac:spMk id="3" creationId="{D6554EEC-EDF8-FBC2-EE6E-D7C56207E329}"/>
          </ac:spMkLst>
        </pc:spChg>
        <pc:spChg chg="del">
          <ac:chgData name="Vihmo Jouni" userId="4ca213fa-a866-453f-972b-b162878f815c" providerId="ADAL" clId="{7C45968F-FBFB-4BAB-A35C-A893EE3AEECF}" dt="2024-04-10T11:27:22.884" v="1293" actId="478"/>
          <ac:spMkLst>
            <pc:docMk/>
            <pc:sldMk cId="677702120" sldId="2147373942"/>
            <ac:spMk id="4" creationId="{DD832BE7-C9DF-E16B-B63C-A853998371DA}"/>
          </ac:spMkLst>
        </pc:spChg>
        <pc:spChg chg="mod ord">
          <ac:chgData name="Vihmo Jouni" userId="4ca213fa-a866-453f-972b-b162878f815c" providerId="ADAL" clId="{7C45968F-FBFB-4BAB-A35C-A893EE3AEECF}" dt="2024-04-10T12:08:56.800" v="2438" actId="700"/>
          <ac:spMkLst>
            <pc:docMk/>
            <pc:sldMk cId="677702120" sldId="2147373942"/>
            <ac:spMk id="5" creationId="{D05DBE16-B3D9-4E43-BDF9-CE49CDDF7D5C}"/>
          </ac:spMkLst>
        </pc:spChg>
        <pc:spChg chg="mod ord">
          <ac:chgData name="Vihmo Jouni" userId="4ca213fa-a866-453f-972b-b162878f815c" providerId="ADAL" clId="{7C45968F-FBFB-4BAB-A35C-A893EE3AEECF}" dt="2024-04-10T12:08:56.800" v="2438" actId="700"/>
          <ac:spMkLst>
            <pc:docMk/>
            <pc:sldMk cId="677702120" sldId="2147373942"/>
            <ac:spMk id="6" creationId="{A4F4E68C-EC82-E21F-DD60-66D70CED820E}"/>
          </ac:spMkLst>
        </pc:spChg>
        <pc:spChg chg="mod ord">
          <ac:chgData name="Vihmo Jouni" userId="4ca213fa-a866-453f-972b-b162878f815c" providerId="ADAL" clId="{7C45968F-FBFB-4BAB-A35C-A893EE3AEECF}" dt="2024-04-10T12:08:56.800" v="2438" actId="700"/>
          <ac:spMkLst>
            <pc:docMk/>
            <pc:sldMk cId="677702120" sldId="2147373942"/>
            <ac:spMk id="7" creationId="{6DD155EF-384A-A575-CC97-3DD787245959}"/>
          </ac:spMkLst>
        </pc:spChg>
        <pc:spChg chg="add mod ord">
          <ac:chgData name="Vihmo Jouni" userId="4ca213fa-a866-453f-972b-b162878f815c" providerId="ADAL" clId="{7C45968F-FBFB-4BAB-A35C-A893EE3AEECF}" dt="2024-04-10T12:09:10.692" v="2443" actId="21"/>
          <ac:spMkLst>
            <pc:docMk/>
            <pc:sldMk cId="677702120" sldId="2147373942"/>
            <ac:spMk id="8" creationId="{1EA8840A-60E5-4EFC-B29D-68918C919946}"/>
          </ac:spMkLst>
        </pc:spChg>
      </pc:sldChg>
      <pc:sldChg chg="new del">
        <pc:chgData name="Vihmo Jouni" userId="4ca213fa-a866-453f-972b-b162878f815c" providerId="ADAL" clId="{7C45968F-FBFB-4BAB-A35C-A893EE3AEECF}" dt="2024-04-10T11:18:45.281" v="162" actId="47"/>
        <pc:sldMkLst>
          <pc:docMk/>
          <pc:sldMk cId="2419964602" sldId="2147373942"/>
        </pc:sldMkLst>
      </pc:sldChg>
      <pc:sldChg chg="add ord">
        <pc:chgData name="Vihmo Jouni" userId="4ca213fa-a866-453f-972b-b162878f815c" providerId="ADAL" clId="{7C45968F-FBFB-4BAB-A35C-A893EE3AEECF}" dt="2024-04-12T06:42:34.125" v="3209"/>
        <pc:sldMkLst>
          <pc:docMk/>
          <pc:sldMk cId="1130284422" sldId="2147373969"/>
        </pc:sldMkLst>
      </pc:sldChg>
      <pc:sldChg chg="add ord">
        <pc:chgData name="Vihmo Jouni" userId="4ca213fa-a866-453f-972b-b162878f815c" providerId="ADAL" clId="{7C45968F-FBFB-4BAB-A35C-A893EE3AEECF}" dt="2024-04-12T06:42:28.199" v="3207"/>
        <pc:sldMkLst>
          <pc:docMk/>
          <pc:sldMk cId="1290044498" sldId="2147373978"/>
        </pc:sldMkLst>
      </pc:sldChg>
      <pc:sldChg chg="addSp delSp modSp add mod">
        <pc:chgData name="Vihmo Jouni" userId="4ca213fa-a866-453f-972b-b162878f815c" providerId="ADAL" clId="{7C45968F-FBFB-4BAB-A35C-A893EE3AEECF}" dt="2024-04-12T05:39:27.492" v="3131"/>
        <pc:sldMkLst>
          <pc:docMk/>
          <pc:sldMk cId="1682737090" sldId="2147373990"/>
        </pc:sldMkLst>
        <pc:spChg chg="add del mod">
          <ac:chgData name="Vihmo Jouni" userId="4ca213fa-a866-453f-972b-b162878f815c" providerId="ADAL" clId="{7C45968F-FBFB-4BAB-A35C-A893EE3AEECF}" dt="2024-04-12T05:38:32.214" v="3120"/>
          <ac:spMkLst>
            <pc:docMk/>
            <pc:sldMk cId="1682737090" sldId="2147373990"/>
            <ac:spMk id="3" creationId="{E9EA910E-BA72-7E08-D4BA-4F3534D46875}"/>
          </ac:spMkLst>
        </pc:spChg>
        <pc:graphicFrameChg chg="add mod">
          <ac:chgData name="Vihmo Jouni" userId="4ca213fa-a866-453f-972b-b162878f815c" providerId="ADAL" clId="{7C45968F-FBFB-4BAB-A35C-A893EE3AEECF}" dt="2024-04-12T05:39:27.492" v="3131"/>
          <ac:graphicFrameMkLst>
            <pc:docMk/>
            <pc:sldMk cId="1682737090" sldId="2147373990"/>
            <ac:graphicFrameMk id="7" creationId="{46C2E13C-C5EB-D89F-7C4F-E69B9E47740D}"/>
          </ac:graphicFrameMkLst>
        </pc:graphicFrameChg>
        <pc:graphicFrameChg chg="add del">
          <ac:chgData name="Vihmo Jouni" userId="4ca213fa-a866-453f-972b-b162878f815c" providerId="ADAL" clId="{7C45968F-FBFB-4BAB-A35C-A893EE3AEECF}" dt="2024-04-12T05:38:30.800" v="3119" actId="478"/>
          <ac:graphicFrameMkLst>
            <pc:docMk/>
            <pc:sldMk cId="1682737090" sldId="2147373990"/>
            <ac:graphicFrameMk id="12" creationId="{5039B86F-CFB0-4217-007B-EF3D66A1D329}"/>
          </ac:graphicFrameMkLst>
        </pc:graphicFrameChg>
      </pc:sldChg>
      <pc:sldChg chg="addSp delSp modSp new mod setBg modClrScheme chgLayout">
        <pc:chgData name="Vihmo Jouni" userId="4ca213fa-a866-453f-972b-b162878f815c" providerId="ADAL" clId="{7C45968F-FBFB-4BAB-A35C-A893EE3AEECF}" dt="2024-04-12T05:31:41.032" v="3066" actId="207"/>
        <pc:sldMkLst>
          <pc:docMk/>
          <pc:sldMk cId="2215216494" sldId="2147373991"/>
        </pc:sldMkLst>
        <pc:spChg chg="del mod ord">
          <ac:chgData name="Vihmo Jouni" userId="4ca213fa-a866-453f-972b-b162878f815c" providerId="ADAL" clId="{7C45968F-FBFB-4BAB-A35C-A893EE3AEECF}" dt="2024-04-12T05:06:41.541" v="2907" actId="700"/>
          <ac:spMkLst>
            <pc:docMk/>
            <pc:sldMk cId="2215216494" sldId="2147373991"/>
            <ac:spMk id="2" creationId="{5123D868-F19B-1939-D7A4-5E4163C8AF28}"/>
          </ac:spMkLst>
        </pc:spChg>
        <pc:spChg chg="del mod ord">
          <ac:chgData name="Vihmo Jouni" userId="4ca213fa-a866-453f-972b-b162878f815c" providerId="ADAL" clId="{7C45968F-FBFB-4BAB-A35C-A893EE3AEECF}" dt="2024-04-12T05:06:41.541" v="2907" actId="700"/>
          <ac:spMkLst>
            <pc:docMk/>
            <pc:sldMk cId="2215216494" sldId="2147373991"/>
            <ac:spMk id="3" creationId="{52A88DE8-7D50-D239-1214-F33E4F96F18B}"/>
          </ac:spMkLst>
        </pc:spChg>
        <pc:spChg chg="mod ord">
          <ac:chgData name="Vihmo Jouni" userId="4ca213fa-a866-453f-972b-b162878f815c" providerId="ADAL" clId="{7C45968F-FBFB-4BAB-A35C-A893EE3AEECF}" dt="2024-04-12T05:31:41.032" v="3066" actId="207"/>
          <ac:spMkLst>
            <pc:docMk/>
            <pc:sldMk cId="2215216494" sldId="2147373991"/>
            <ac:spMk id="4" creationId="{9AE1DFEA-AA25-8616-34E7-1FD9390BDB88}"/>
          </ac:spMkLst>
        </pc:spChg>
        <pc:spChg chg="mod ord">
          <ac:chgData name="Vihmo Jouni" userId="4ca213fa-a866-453f-972b-b162878f815c" providerId="ADAL" clId="{7C45968F-FBFB-4BAB-A35C-A893EE3AEECF}" dt="2024-04-12T05:31:41.032" v="3066" actId="207"/>
          <ac:spMkLst>
            <pc:docMk/>
            <pc:sldMk cId="2215216494" sldId="2147373991"/>
            <ac:spMk id="5" creationId="{0A214FBC-9AAE-E8E4-3072-6FADA8E99D07}"/>
          </ac:spMkLst>
        </pc:spChg>
        <pc:spChg chg="mod ord">
          <ac:chgData name="Vihmo Jouni" userId="4ca213fa-a866-453f-972b-b162878f815c" providerId="ADAL" clId="{7C45968F-FBFB-4BAB-A35C-A893EE3AEECF}" dt="2024-04-12T05:31:41.032" v="3066" actId="207"/>
          <ac:spMkLst>
            <pc:docMk/>
            <pc:sldMk cId="2215216494" sldId="2147373991"/>
            <ac:spMk id="6" creationId="{EF0CE7A0-3892-93E3-E418-25CED46AC3F5}"/>
          </ac:spMkLst>
        </pc:spChg>
        <pc:spChg chg="del">
          <ac:chgData name="Vihmo Jouni" userId="4ca213fa-a866-453f-972b-b162878f815c" providerId="ADAL" clId="{7C45968F-FBFB-4BAB-A35C-A893EE3AEECF}" dt="2024-04-12T05:06:41.541" v="2907" actId="700"/>
          <ac:spMkLst>
            <pc:docMk/>
            <pc:sldMk cId="2215216494" sldId="2147373991"/>
            <ac:spMk id="7" creationId="{3B0B364D-BEA8-099F-2717-7A8CC6CC74F6}"/>
          </ac:spMkLst>
        </pc:spChg>
        <pc:spChg chg="del">
          <ac:chgData name="Vihmo Jouni" userId="4ca213fa-a866-453f-972b-b162878f815c" providerId="ADAL" clId="{7C45968F-FBFB-4BAB-A35C-A893EE3AEECF}" dt="2024-04-12T05:06:41.541" v="2907" actId="700"/>
          <ac:spMkLst>
            <pc:docMk/>
            <pc:sldMk cId="2215216494" sldId="2147373991"/>
            <ac:spMk id="8" creationId="{134F7226-5763-05A4-7BA0-FA7C4B182C44}"/>
          </ac:spMkLst>
        </pc:spChg>
        <pc:spChg chg="add del mod ord">
          <ac:chgData name="Vihmo Jouni" userId="4ca213fa-a866-453f-972b-b162878f815c" providerId="ADAL" clId="{7C45968F-FBFB-4BAB-A35C-A893EE3AEECF}" dt="2024-04-12T05:07:06.955" v="2909" actId="478"/>
          <ac:spMkLst>
            <pc:docMk/>
            <pc:sldMk cId="2215216494" sldId="2147373991"/>
            <ac:spMk id="9" creationId="{6527817A-6C4F-5177-E011-6E1198F5284B}"/>
          </ac:spMkLst>
        </pc:spChg>
        <pc:spChg chg="add del mod ord">
          <ac:chgData name="Vihmo Jouni" userId="4ca213fa-a866-453f-972b-b162878f815c" providerId="ADAL" clId="{7C45968F-FBFB-4BAB-A35C-A893EE3AEECF}" dt="2024-04-12T05:07:08.037" v="2910" actId="478"/>
          <ac:spMkLst>
            <pc:docMk/>
            <pc:sldMk cId="2215216494" sldId="2147373991"/>
            <ac:spMk id="10" creationId="{5D3B8954-62C5-408B-9365-1813CC73F65A}"/>
          </ac:spMkLst>
        </pc:spChg>
        <pc:spChg chg="add mod">
          <ac:chgData name="Vihmo Jouni" userId="4ca213fa-a866-453f-972b-b162878f815c" providerId="ADAL" clId="{7C45968F-FBFB-4BAB-A35C-A893EE3AEECF}" dt="2024-04-12T05:31:41.032" v="3066" actId="207"/>
          <ac:spMkLst>
            <pc:docMk/>
            <pc:sldMk cId="2215216494" sldId="2147373991"/>
            <ac:spMk id="12" creationId="{6CA9651C-B829-BFB1-3CF7-0A85ECA319FF}"/>
          </ac:spMkLst>
        </pc:spChg>
        <pc:picChg chg="add del mod">
          <ac:chgData name="Vihmo Jouni" userId="4ca213fa-a866-453f-972b-b162878f815c" providerId="ADAL" clId="{7C45968F-FBFB-4BAB-A35C-A893EE3AEECF}" dt="2024-04-12T05:07:15.237" v="2913" actId="478"/>
          <ac:picMkLst>
            <pc:docMk/>
            <pc:sldMk cId="2215216494" sldId="2147373991"/>
            <ac:picMk id="11" creationId="{A1F30C74-6471-B25E-FD42-50F7CA4FAC72}"/>
          </ac:picMkLst>
        </pc:picChg>
        <pc:picChg chg="add del mod">
          <ac:chgData name="Vihmo Jouni" userId="4ca213fa-a866-453f-972b-b162878f815c" providerId="ADAL" clId="{7C45968F-FBFB-4BAB-A35C-A893EE3AEECF}" dt="2024-04-12T05:31:18.909" v="3064" actId="478"/>
          <ac:picMkLst>
            <pc:docMk/>
            <pc:sldMk cId="2215216494" sldId="2147373991"/>
            <ac:picMk id="14" creationId="{87E840FD-8846-BF42-B71A-CED2F5A1D91F}"/>
          </ac:picMkLst>
        </pc:picChg>
        <pc:picChg chg="add del">
          <ac:chgData name="Vihmo Jouni" userId="4ca213fa-a866-453f-972b-b162878f815c" providerId="ADAL" clId="{7C45968F-FBFB-4BAB-A35C-A893EE3AEECF}" dt="2024-04-12T05:24:34.186" v="2980" actId="478"/>
          <ac:picMkLst>
            <pc:docMk/>
            <pc:sldMk cId="2215216494" sldId="2147373991"/>
            <ac:picMk id="1026" creationId="{B7E2C3DF-D889-44AA-F650-ED53965B89BD}"/>
          </ac:picMkLst>
        </pc:picChg>
      </pc:sldChg>
      <pc:sldChg chg="addSp delSp modSp new mod setBg">
        <pc:chgData name="Vihmo Jouni" userId="4ca213fa-a866-453f-972b-b162878f815c" providerId="ADAL" clId="{7C45968F-FBFB-4BAB-A35C-A893EE3AEECF}" dt="2024-04-12T05:41:44.757" v="3192" actId="1076"/>
        <pc:sldMkLst>
          <pc:docMk/>
          <pc:sldMk cId="2214066216" sldId="2147373992"/>
        </pc:sldMkLst>
        <pc:spChg chg="mod">
          <ac:chgData name="Vihmo Jouni" userId="4ca213fa-a866-453f-972b-b162878f815c" providerId="ADAL" clId="{7C45968F-FBFB-4BAB-A35C-A893EE3AEECF}" dt="2024-04-12T05:31:49.372" v="3067" actId="207"/>
          <ac:spMkLst>
            <pc:docMk/>
            <pc:sldMk cId="2214066216" sldId="2147373992"/>
            <ac:spMk id="2" creationId="{D07F38C6-65D2-8BCB-C484-A8784ADE78AA}"/>
          </ac:spMkLst>
        </pc:spChg>
        <pc:spChg chg="mod">
          <ac:chgData name="Vihmo Jouni" userId="4ca213fa-a866-453f-972b-b162878f815c" providerId="ADAL" clId="{7C45968F-FBFB-4BAB-A35C-A893EE3AEECF}" dt="2024-04-12T05:31:49.372" v="3067" actId="207"/>
          <ac:spMkLst>
            <pc:docMk/>
            <pc:sldMk cId="2214066216" sldId="2147373992"/>
            <ac:spMk id="3" creationId="{E52B818D-E4DC-456D-C97E-A96468756618}"/>
          </ac:spMkLst>
        </pc:spChg>
        <pc:spChg chg="mod">
          <ac:chgData name="Vihmo Jouni" userId="4ca213fa-a866-453f-972b-b162878f815c" providerId="ADAL" clId="{7C45968F-FBFB-4BAB-A35C-A893EE3AEECF}" dt="2024-04-12T05:31:49.372" v="3067" actId="207"/>
          <ac:spMkLst>
            <pc:docMk/>
            <pc:sldMk cId="2214066216" sldId="2147373992"/>
            <ac:spMk id="4" creationId="{B02C007D-E16D-0988-71A9-5382DAF95746}"/>
          </ac:spMkLst>
        </pc:spChg>
        <pc:spChg chg="del">
          <ac:chgData name="Vihmo Jouni" userId="4ca213fa-a866-453f-972b-b162878f815c" providerId="ADAL" clId="{7C45968F-FBFB-4BAB-A35C-A893EE3AEECF}" dt="2024-04-12T05:07:29.612" v="2916" actId="478"/>
          <ac:spMkLst>
            <pc:docMk/>
            <pc:sldMk cId="2214066216" sldId="2147373992"/>
            <ac:spMk id="5" creationId="{6A652D63-F006-FF47-59F4-D3F0822F69A5}"/>
          </ac:spMkLst>
        </pc:spChg>
        <pc:spChg chg="del">
          <ac:chgData name="Vihmo Jouni" userId="4ca213fa-a866-453f-972b-b162878f815c" providerId="ADAL" clId="{7C45968F-FBFB-4BAB-A35C-A893EE3AEECF}" dt="2024-04-12T05:07:32.009" v="2917" actId="478"/>
          <ac:spMkLst>
            <pc:docMk/>
            <pc:sldMk cId="2214066216" sldId="2147373992"/>
            <ac:spMk id="6" creationId="{6DE6D607-45B3-CD32-840F-A4922FE58B5D}"/>
          </ac:spMkLst>
        </pc:spChg>
        <pc:spChg chg="add mod">
          <ac:chgData name="Vihmo Jouni" userId="4ca213fa-a866-453f-972b-b162878f815c" providerId="ADAL" clId="{7C45968F-FBFB-4BAB-A35C-A893EE3AEECF}" dt="2024-04-12T05:07:41.101" v="2919"/>
          <ac:spMkLst>
            <pc:docMk/>
            <pc:sldMk cId="2214066216" sldId="2147373992"/>
            <ac:spMk id="7" creationId="{47B29CDB-D054-433F-B167-0BE15C970798}"/>
          </ac:spMkLst>
        </pc:spChg>
        <pc:spChg chg="add mod">
          <ac:chgData name="Vihmo Jouni" userId="4ca213fa-a866-453f-972b-b162878f815c" providerId="ADAL" clId="{7C45968F-FBFB-4BAB-A35C-A893EE3AEECF}" dt="2024-04-12T05:41:30.799" v="3189" actId="1036"/>
          <ac:spMkLst>
            <pc:docMk/>
            <pc:sldMk cId="2214066216" sldId="2147373992"/>
            <ac:spMk id="8" creationId="{9D44C23B-1939-1036-425C-C66FDA8BF60A}"/>
          </ac:spMkLst>
        </pc:spChg>
        <pc:spChg chg="add mod">
          <ac:chgData name="Vihmo Jouni" userId="4ca213fa-a866-453f-972b-b162878f815c" providerId="ADAL" clId="{7C45968F-FBFB-4BAB-A35C-A893EE3AEECF}" dt="2024-04-12T05:41:30.799" v="3189" actId="1036"/>
          <ac:spMkLst>
            <pc:docMk/>
            <pc:sldMk cId="2214066216" sldId="2147373992"/>
            <ac:spMk id="9" creationId="{C6351BBB-B889-8451-BC01-9954399A3347}"/>
          </ac:spMkLst>
        </pc:spChg>
        <pc:spChg chg="add mod">
          <ac:chgData name="Vihmo Jouni" userId="4ca213fa-a866-453f-972b-b162878f815c" providerId="ADAL" clId="{7C45968F-FBFB-4BAB-A35C-A893EE3AEECF}" dt="2024-04-12T05:07:41.101" v="2919"/>
          <ac:spMkLst>
            <pc:docMk/>
            <pc:sldMk cId="2214066216" sldId="2147373992"/>
            <ac:spMk id="10" creationId="{DD638BA5-ABF4-40F5-B0F9-BDA1C18C05C9}"/>
          </ac:spMkLst>
        </pc:spChg>
        <pc:spChg chg="add mod">
          <ac:chgData name="Vihmo Jouni" userId="4ca213fa-a866-453f-972b-b162878f815c" providerId="ADAL" clId="{7C45968F-FBFB-4BAB-A35C-A893EE3AEECF}" dt="2024-04-12T05:41:30.799" v="3189" actId="1036"/>
          <ac:spMkLst>
            <pc:docMk/>
            <pc:sldMk cId="2214066216" sldId="2147373992"/>
            <ac:spMk id="11" creationId="{31D0B9B2-45B9-D721-D96B-FD22DF96E116}"/>
          </ac:spMkLst>
        </pc:spChg>
        <pc:spChg chg="add mod">
          <ac:chgData name="Vihmo Jouni" userId="4ca213fa-a866-453f-972b-b162878f815c" providerId="ADAL" clId="{7C45968F-FBFB-4BAB-A35C-A893EE3AEECF}" dt="2024-04-12T05:07:41.101" v="2919"/>
          <ac:spMkLst>
            <pc:docMk/>
            <pc:sldMk cId="2214066216" sldId="2147373992"/>
            <ac:spMk id="12" creationId="{6ECA4CA0-F8DA-495B-9B3F-290C70B9D366}"/>
          </ac:spMkLst>
        </pc:spChg>
        <pc:spChg chg="add mod">
          <ac:chgData name="Vihmo Jouni" userId="4ca213fa-a866-453f-972b-b162878f815c" providerId="ADAL" clId="{7C45968F-FBFB-4BAB-A35C-A893EE3AEECF}" dt="2024-04-12T05:41:30.799" v="3189" actId="1036"/>
          <ac:spMkLst>
            <pc:docMk/>
            <pc:sldMk cId="2214066216" sldId="2147373992"/>
            <ac:spMk id="13" creationId="{9DFC3CFE-94D7-F9D1-823E-6AB69559D720}"/>
          </ac:spMkLst>
        </pc:spChg>
        <pc:spChg chg="add mod">
          <ac:chgData name="Vihmo Jouni" userId="4ca213fa-a866-453f-972b-b162878f815c" providerId="ADAL" clId="{7C45968F-FBFB-4BAB-A35C-A893EE3AEECF}" dt="2024-04-12T05:07:41.101" v="2919"/>
          <ac:spMkLst>
            <pc:docMk/>
            <pc:sldMk cId="2214066216" sldId="2147373992"/>
            <ac:spMk id="14" creationId="{39EF32B9-A6B1-4E9A-BB74-01A0D79073A3}"/>
          </ac:spMkLst>
        </pc:spChg>
        <pc:spChg chg="add mod">
          <ac:chgData name="Vihmo Jouni" userId="4ca213fa-a866-453f-972b-b162878f815c" providerId="ADAL" clId="{7C45968F-FBFB-4BAB-A35C-A893EE3AEECF}" dt="2024-04-12T05:41:30.799" v="3189" actId="1036"/>
          <ac:spMkLst>
            <pc:docMk/>
            <pc:sldMk cId="2214066216" sldId="2147373992"/>
            <ac:spMk id="15" creationId="{B0DB553A-66B5-A92B-AC41-D24AD90D9EE4}"/>
          </ac:spMkLst>
        </pc:spChg>
        <pc:spChg chg="add mod">
          <ac:chgData name="Vihmo Jouni" userId="4ca213fa-a866-453f-972b-b162878f815c" providerId="ADAL" clId="{7C45968F-FBFB-4BAB-A35C-A893EE3AEECF}" dt="2024-04-12T05:41:30.799" v="3189" actId="1036"/>
          <ac:spMkLst>
            <pc:docMk/>
            <pc:sldMk cId="2214066216" sldId="2147373992"/>
            <ac:spMk id="16" creationId="{A3D70B92-1F66-860E-0EAB-E3C24998CD0D}"/>
          </ac:spMkLst>
        </pc:spChg>
        <pc:spChg chg="add mod">
          <ac:chgData name="Vihmo Jouni" userId="4ca213fa-a866-453f-972b-b162878f815c" providerId="ADAL" clId="{7C45968F-FBFB-4BAB-A35C-A893EE3AEECF}" dt="2024-04-12T05:07:41.101" v="2919"/>
          <ac:spMkLst>
            <pc:docMk/>
            <pc:sldMk cId="2214066216" sldId="2147373992"/>
            <ac:spMk id="17" creationId="{EEA8D3E8-1DC2-4690-AACB-F95341B343B9}"/>
          </ac:spMkLst>
        </pc:spChg>
        <pc:spChg chg="add mod">
          <ac:chgData name="Vihmo Jouni" userId="4ca213fa-a866-453f-972b-b162878f815c" providerId="ADAL" clId="{7C45968F-FBFB-4BAB-A35C-A893EE3AEECF}" dt="2024-04-12T05:07:41.101" v="2919"/>
          <ac:spMkLst>
            <pc:docMk/>
            <pc:sldMk cId="2214066216" sldId="2147373992"/>
            <ac:spMk id="18" creationId="{66A65033-9DCA-46C1-B545-20D72FE99627}"/>
          </ac:spMkLst>
        </pc:spChg>
        <pc:spChg chg="add mod">
          <ac:chgData name="Vihmo Jouni" userId="4ca213fa-a866-453f-972b-b162878f815c" providerId="ADAL" clId="{7C45968F-FBFB-4BAB-A35C-A893EE3AEECF}" dt="2024-04-12T05:41:44.757" v="3192" actId="1076"/>
          <ac:spMkLst>
            <pc:docMk/>
            <pc:sldMk cId="2214066216" sldId="2147373992"/>
            <ac:spMk id="19" creationId="{87E79CCC-3E14-E1C6-5A37-06E601EE7F44}"/>
          </ac:spMkLst>
        </pc:spChg>
        <pc:spChg chg="add mod">
          <ac:chgData name="Vihmo Jouni" userId="4ca213fa-a866-453f-972b-b162878f815c" providerId="ADAL" clId="{7C45968F-FBFB-4BAB-A35C-A893EE3AEECF}" dt="2024-04-12T05:07:41.101" v="2919"/>
          <ac:spMkLst>
            <pc:docMk/>
            <pc:sldMk cId="2214066216" sldId="2147373992"/>
            <ac:spMk id="21" creationId="{98E45248-309A-4AF1-AB7E-CDB7AA894AD1}"/>
          </ac:spMkLst>
        </pc:spChg>
      </pc:sldChg>
      <pc:sldMasterChg chg="del delSldLayout">
        <pc:chgData name="Vihmo Jouni" userId="4ca213fa-a866-453f-972b-b162878f815c" providerId="ADAL" clId="{7C45968F-FBFB-4BAB-A35C-A893EE3AEECF}" dt="2024-04-12T05:08:23.961" v="2925" actId="47"/>
        <pc:sldMasterMkLst>
          <pc:docMk/>
          <pc:sldMasterMk cId="1532532357" sldId="2147483833"/>
        </pc:sldMasterMkLst>
        <pc:sldLayoutChg chg="del">
          <pc:chgData name="Vihmo Jouni" userId="4ca213fa-a866-453f-972b-b162878f815c" providerId="ADAL" clId="{7C45968F-FBFB-4BAB-A35C-A893EE3AEECF}" dt="2024-04-12T05:08:23.961" v="2925" actId="47"/>
          <pc:sldLayoutMkLst>
            <pc:docMk/>
            <pc:sldMasterMk cId="1532532357" sldId="2147483833"/>
            <pc:sldLayoutMk cId="3797600479" sldId="2147483834"/>
          </pc:sldLayoutMkLst>
        </pc:sldLayoutChg>
        <pc:sldLayoutChg chg="del">
          <pc:chgData name="Vihmo Jouni" userId="4ca213fa-a866-453f-972b-b162878f815c" providerId="ADAL" clId="{7C45968F-FBFB-4BAB-A35C-A893EE3AEECF}" dt="2024-04-12T05:08:23.961" v="2925" actId="47"/>
          <pc:sldLayoutMkLst>
            <pc:docMk/>
            <pc:sldMasterMk cId="1532532357" sldId="2147483833"/>
            <pc:sldLayoutMk cId="1697463165" sldId="2147483835"/>
          </pc:sldLayoutMkLst>
        </pc:sldLayoutChg>
        <pc:sldLayoutChg chg="del">
          <pc:chgData name="Vihmo Jouni" userId="4ca213fa-a866-453f-972b-b162878f815c" providerId="ADAL" clId="{7C45968F-FBFB-4BAB-A35C-A893EE3AEECF}" dt="2024-04-12T05:08:23.961" v="2925" actId="47"/>
          <pc:sldLayoutMkLst>
            <pc:docMk/>
            <pc:sldMasterMk cId="1532532357" sldId="2147483833"/>
            <pc:sldLayoutMk cId="4273326988" sldId="2147483836"/>
          </pc:sldLayoutMkLst>
        </pc:sldLayoutChg>
        <pc:sldLayoutChg chg="del">
          <pc:chgData name="Vihmo Jouni" userId="4ca213fa-a866-453f-972b-b162878f815c" providerId="ADAL" clId="{7C45968F-FBFB-4BAB-A35C-A893EE3AEECF}" dt="2024-04-12T05:08:23.961" v="2925" actId="47"/>
          <pc:sldLayoutMkLst>
            <pc:docMk/>
            <pc:sldMasterMk cId="1532532357" sldId="2147483833"/>
            <pc:sldLayoutMk cId="4261955783" sldId="2147483837"/>
          </pc:sldLayoutMkLst>
        </pc:sldLayoutChg>
        <pc:sldLayoutChg chg="del">
          <pc:chgData name="Vihmo Jouni" userId="4ca213fa-a866-453f-972b-b162878f815c" providerId="ADAL" clId="{7C45968F-FBFB-4BAB-A35C-A893EE3AEECF}" dt="2024-04-12T05:08:23.961" v="2925" actId="47"/>
          <pc:sldLayoutMkLst>
            <pc:docMk/>
            <pc:sldMasterMk cId="1532532357" sldId="2147483833"/>
            <pc:sldLayoutMk cId="996110428" sldId="2147483838"/>
          </pc:sldLayoutMkLst>
        </pc:sldLayoutChg>
        <pc:sldLayoutChg chg="del">
          <pc:chgData name="Vihmo Jouni" userId="4ca213fa-a866-453f-972b-b162878f815c" providerId="ADAL" clId="{7C45968F-FBFB-4BAB-A35C-A893EE3AEECF}" dt="2024-04-12T05:08:23.961" v="2925" actId="47"/>
          <pc:sldLayoutMkLst>
            <pc:docMk/>
            <pc:sldMasterMk cId="1532532357" sldId="2147483833"/>
            <pc:sldLayoutMk cId="4198735536" sldId="2147483839"/>
          </pc:sldLayoutMkLst>
        </pc:sldLayoutChg>
        <pc:sldLayoutChg chg="del">
          <pc:chgData name="Vihmo Jouni" userId="4ca213fa-a866-453f-972b-b162878f815c" providerId="ADAL" clId="{7C45968F-FBFB-4BAB-A35C-A893EE3AEECF}" dt="2024-04-12T05:08:23.961" v="2925" actId="47"/>
          <pc:sldLayoutMkLst>
            <pc:docMk/>
            <pc:sldMasterMk cId="1532532357" sldId="2147483833"/>
            <pc:sldLayoutMk cId="243241416" sldId="2147483840"/>
          </pc:sldLayoutMkLst>
        </pc:sldLayoutChg>
        <pc:sldLayoutChg chg="del">
          <pc:chgData name="Vihmo Jouni" userId="4ca213fa-a866-453f-972b-b162878f815c" providerId="ADAL" clId="{7C45968F-FBFB-4BAB-A35C-A893EE3AEECF}" dt="2024-04-12T05:08:23.961" v="2925" actId="47"/>
          <pc:sldLayoutMkLst>
            <pc:docMk/>
            <pc:sldMasterMk cId="1532532357" sldId="2147483833"/>
            <pc:sldLayoutMk cId="2640636503" sldId="2147483841"/>
          </pc:sldLayoutMkLst>
        </pc:sldLayoutChg>
        <pc:sldLayoutChg chg="del">
          <pc:chgData name="Vihmo Jouni" userId="4ca213fa-a866-453f-972b-b162878f815c" providerId="ADAL" clId="{7C45968F-FBFB-4BAB-A35C-A893EE3AEECF}" dt="2024-04-12T05:08:23.961" v="2925" actId="47"/>
          <pc:sldLayoutMkLst>
            <pc:docMk/>
            <pc:sldMasterMk cId="1532532357" sldId="2147483833"/>
            <pc:sldLayoutMk cId="1970153215" sldId="2147483842"/>
          </pc:sldLayoutMkLst>
        </pc:sldLayoutChg>
        <pc:sldLayoutChg chg="del">
          <pc:chgData name="Vihmo Jouni" userId="4ca213fa-a866-453f-972b-b162878f815c" providerId="ADAL" clId="{7C45968F-FBFB-4BAB-A35C-A893EE3AEECF}" dt="2024-04-12T05:08:23.961" v="2925" actId="47"/>
          <pc:sldLayoutMkLst>
            <pc:docMk/>
            <pc:sldMasterMk cId="1532532357" sldId="2147483833"/>
            <pc:sldLayoutMk cId="176809300" sldId="2147483843"/>
          </pc:sldLayoutMkLst>
        </pc:sldLayoutChg>
        <pc:sldLayoutChg chg="del">
          <pc:chgData name="Vihmo Jouni" userId="4ca213fa-a866-453f-972b-b162878f815c" providerId="ADAL" clId="{7C45968F-FBFB-4BAB-A35C-A893EE3AEECF}" dt="2024-04-12T05:08:23.961" v="2925" actId="47"/>
          <pc:sldLayoutMkLst>
            <pc:docMk/>
            <pc:sldMasterMk cId="1532532357" sldId="2147483833"/>
            <pc:sldLayoutMk cId="3096912427" sldId="2147483844"/>
          </pc:sldLayoutMkLst>
        </pc:sldLayoutChg>
      </pc:sldMasterChg>
    </pc:docChg>
  </pc:docChgLst>
  <pc:docChgLst>
    <pc:chgData name="Vihmo Jouni" userId="4ca213fa-a866-453f-972b-b162878f815c" providerId="ADAL" clId="{DC5626EF-A8F5-4748-8E23-70D09DE2D53E}"/>
    <pc:docChg chg="addSld delSld modSld sldOrd">
      <pc:chgData name="Vihmo Jouni" userId="4ca213fa-a866-453f-972b-b162878f815c" providerId="ADAL" clId="{DC5626EF-A8F5-4748-8E23-70D09DE2D53E}" dt="2024-04-21T06:41:28.754" v="41" actId="20577"/>
      <pc:docMkLst>
        <pc:docMk/>
      </pc:docMkLst>
      <pc:sldChg chg="del">
        <pc:chgData name="Vihmo Jouni" userId="4ca213fa-a866-453f-972b-b162878f815c" providerId="ADAL" clId="{DC5626EF-A8F5-4748-8E23-70D09DE2D53E}" dt="2024-04-21T06:32:51.998" v="19" actId="2696"/>
        <pc:sldMkLst>
          <pc:docMk/>
          <pc:sldMk cId="4205315300" sldId="258"/>
        </pc:sldMkLst>
      </pc:sldChg>
      <pc:sldChg chg="del">
        <pc:chgData name="Vihmo Jouni" userId="4ca213fa-a866-453f-972b-b162878f815c" providerId="ADAL" clId="{DC5626EF-A8F5-4748-8E23-70D09DE2D53E}" dt="2024-04-21T06:32:51.998" v="19" actId="2696"/>
        <pc:sldMkLst>
          <pc:docMk/>
          <pc:sldMk cId="1971747098" sldId="2134805007"/>
        </pc:sldMkLst>
      </pc:sldChg>
      <pc:sldChg chg="ord">
        <pc:chgData name="Vihmo Jouni" userId="4ca213fa-a866-453f-972b-b162878f815c" providerId="ADAL" clId="{DC5626EF-A8F5-4748-8E23-70D09DE2D53E}" dt="2024-04-21T06:35:14.821" v="26"/>
        <pc:sldMkLst>
          <pc:docMk/>
          <pc:sldMk cId="2543273729" sldId="2134805213"/>
        </pc:sldMkLst>
      </pc:sldChg>
      <pc:sldChg chg="del ord">
        <pc:chgData name="Vihmo Jouni" userId="4ca213fa-a866-453f-972b-b162878f815c" providerId="ADAL" clId="{DC5626EF-A8F5-4748-8E23-70D09DE2D53E}" dt="2024-04-21T06:35:25.334" v="27" actId="2696"/>
        <pc:sldMkLst>
          <pc:docMk/>
          <pc:sldMk cId="1386734866" sldId="2147373824"/>
        </pc:sldMkLst>
      </pc:sldChg>
      <pc:sldChg chg="del">
        <pc:chgData name="Vihmo Jouni" userId="4ca213fa-a866-453f-972b-b162878f815c" providerId="ADAL" clId="{DC5626EF-A8F5-4748-8E23-70D09DE2D53E}" dt="2024-04-21T06:35:25.334" v="27" actId="2696"/>
        <pc:sldMkLst>
          <pc:docMk/>
          <pc:sldMk cId="1677830932" sldId="2147373835"/>
        </pc:sldMkLst>
      </pc:sldChg>
      <pc:sldChg chg="del">
        <pc:chgData name="Vihmo Jouni" userId="4ca213fa-a866-453f-972b-b162878f815c" providerId="ADAL" clId="{DC5626EF-A8F5-4748-8E23-70D09DE2D53E}" dt="2024-04-21T06:32:51.998" v="19" actId="2696"/>
        <pc:sldMkLst>
          <pc:docMk/>
          <pc:sldMk cId="3497502647" sldId="2147373839"/>
        </pc:sldMkLst>
      </pc:sldChg>
      <pc:sldChg chg="del">
        <pc:chgData name="Vihmo Jouni" userId="4ca213fa-a866-453f-972b-b162878f815c" providerId="ADAL" clId="{DC5626EF-A8F5-4748-8E23-70D09DE2D53E}" dt="2024-04-21T06:35:25.334" v="27" actId="2696"/>
        <pc:sldMkLst>
          <pc:docMk/>
          <pc:sldMk cId="301298876" sldId="2147373856"/>
        </pc:sldMkLst>
      </pc:sldChg>
      <pc:sldChg chg="del">
        <pc:chgData name="Vihmo Jouni" userId="4ca213fa-a866-453f-972b-b162878f815c" providerId="ADAL" clId="{DC5626EF-A8F5-4748-8E23-70D09DE2D53E}" dt="2024-04-21T06:35:25.334" v="27" actId="2696"/>
        <pc:sldMkLst>
          <pc:docMk/>
          <pc:sldMk cId="783915806" sldId="2147373857"/>
        </pc:sldMkLst>
      </pc:sldChg>
      <pc:sldChg chg="del">
        <pc:chgData name="Vihmo Jouni" userId="4ca213fa-a866-453f-972b-b162878f815c" providerId="ADAL" clId="{DC5626EF-A8F5-4748-8E23-70D09DE2D53E}" dt="2024-04-21T06:32:51.998" v="19" actId="2696"/>
        <pc:sldMkLst>
          <pc:docMk/>
          <pc:sldMk cId="3994161370" sldId="2147373884"/>
        </pc:sldMkLst>
      </pc:sldChg>
      <pc:sldChg chg="del">
        <pc:chgData name="Vihmo Jouni" userId="4ca213fa-a866-453f-972b-b162878f815c" providerId="ADAL" clId="{DC5626EF-A8F5-4748-8E23-70D09DE2D53E}" dt="2024-04-21T06:32:51.998" v="19" actId="2696"/>
        <pc:sldMkLst>
          <pc:docMk/>
          <pc:sldMk cId="3485242427" sldId="2147373900"/>
        </pc:sldMkLst>
      </pc:sldChg>
      <pc:sldChg chg="del ord">
        <pc:chgData name="Vihmo Jouni" userId="4ca213fa-a866-453f-972b-b162878f815c" providerId="ADAL" clId="{DC5626EF-A8F5-4748-8E23-70D09DE2D53E}" dt="2024-04-21T06:35:25.334" v="27" actId="2696"/>
        <pc:sldMkLst>
          <pc:docMk/>
          <pc:sldMk cId="965334178" sldId="2147373903"/>
        </pc:sldMkLst>
      </pc:sldChg>
      <pc:sldChg chg="del">
        <pc:chgData name="Vihmo Jouni" userId="4ca213fa-a866-453f-972b-b162878f815c" providerId="ADAL" clId="{DC5626EF-A8F5-4748-8E23-70D09DE2D53E}" dt="2024-04-21T06:32:51.998" v="19" actId="2696"/>
        <pc:sldMkLst>
          <pc:docMk/>
          <pc:sldMk cId="1587808610" sldId="2147373907"/>
        </pc:sldMkLst>
      </pc:sldChg>
      <pc:sldChg chg="del ord">
        <pc:chgData name="Vihmo Jouni" userId="4ca213fa-a866-453f-972b-b162878f815c" providerId="ADAL" clId="{DC5626EF-A8F5-4748-8E23-70D09DE2D53E}" dt="2024-04-21T06:35:25.334" v="27" actId="2696"/>
        <pc:sldMkLst>
          <pc:docMk/>
          <pc:sldMk cId="3031819852" sldId="2147373913"/>
        </pc:sldMkLst>
      </pc:sldChg>
      <pc:sldChg chg="del">
        <pc:chgData name="Vihmo Jouni" userId="4ca213fa-a866-453f-972b-b162878f815c" providerId="ADAL" clId="{DC5626EF-A8F5-4748-8E23-70D09DE2D53E}" dt="2024-04-21T06:35:25.334" v="27" actId="2696"/>
        <pc:sldMkLst>
          <pc:docMk/>
          <pc:sldMk cId="2037775661" sldId="2147373915"/>
        </pc:sldMkLst>
      </pc:sldChg>
      <pc:sldChg chg="del ord">
        <pc:chgData name="Vihmo Jouni" userId="4ca213fa-a866-453f-972b-b162878f815c" providerId="ADAL" clId="{DC5626EF-A8F5-4748-8E23-70D09DE2D53E}" dt="2024-04-21T06:32:51.998" v="19" actId="2696"/>
        <pc:sldMkLst>
          <pc:docMk/>
          <pc:sldMk cId="1445306898" sldId="2147373920"/>
        </pc:sldMkLst>
      </pc:sldChg>
      <pc:sldChg chg="del">
        <pc:chgData name="Vihmo Jouni" userId="4ca213fa-a866-453f-972b-b162878f815c" providerId="ADAL" clId="{DC5626EF-A8F5-4748-8E23-70D09DE2D53E}" dt="2024-04-21T06:32:51.998" v="19" actId="2696"/>
        <pc:sldMkLst>
          <pc:docMk/>
          <pc:sldMk cId="1097535002" sldId="2147373924"/>
        </pc:sldMkLst>
      </pc:sldChg>
      <pc:sldChg chg="del">
        <pc:chgData name="Vihmo Jouni" userId="4ca213fa-a866-453f-972b-b162878f815c" providerId="ADAL" clId="{DC5626EF-A8F5-4748-8E23-70D09DE2D53E}" dt="2024-04-21T06:35:25.334" v="27" actId="2696"/>
        <pc:sldMkLst>
          <pc:docMk/>
          <pc:sldMk cId="3271111458" sldId="2147373931"/>
        </pc:sldMkLst>
      </pc:sldChg>
      <pc:sldChg chg="del">
        <pc:chgData name="Vihmo Jouni" userId="4ca213fa-a866-453f-972b-b162878f815c" providerId="ADAL" clId="{DC5626EF-A8F5-4748-8E23-70D09DE2D53E}" dt="2024-04-21T06:32:51.998" v="19" actId="2696"/>
        <pc:sldMkLst>
          <pc:docMk/>
          <pc:sldMk cId="2409160647" sldId="2147373933"/>
        </pc:sldMkLst>
      </pc:sldChg>
      <pc:sldChg chg="del">
        <pc:chgData name="Vihmo Jouni" userId="4ca213fa-a866-453f-972b-b162878f815c" providerId="ADAL" clId="{DC5626EF-A8F5-4748-8E23-70D09DE2D53E}" dt="2024-04-21T06:32:51.998" v="19" actId="2696"/>
        <pc:sldMkLst>
          <pc:docMk/>
          <pc:sldMk cId="2835475025" sldId="2147373939"/>
        </pc:sldMkLst>
      </pc:sldChg>
      <pc:sldChg chg="modSp mod">
        <pc:chgData name="Vihmo Jouni" userId="4ca213fa-a866-453f-972b-b162878f815c" providerId="ADAL" clId="{DC5626EF-A8F5-4748-8E23-70D09DE2D53E}" dt="2024-04-21T06:41:28.754" v="41" actId="20577"/>
        <pc:sldMkLst>
          <pc:docMk/>
          <pc:sldMk cId="3662964321" sldId="2147373940"/>
        </pc:sldMkLst>
        <pc:spChg chg="mod">
          <ac:chgData name="Vihmo Jouni" userId="4ca213fa-a866-453f-972b-b162878f815c" providerId="ADAL" clId="{DC5626EF-A8F5-4748-8E23-70D09DE2D53E}" dt="2024-04-21T06:41:28.754" v="41" actId="20577"/>
          <ac:spMkLst>
            <pc:docMk/>
            <pc:sldMk cId="3662964321" sldId="2147373940"/>
            <ac:spMk id="11" creationId="{D7A2B23C-0250-585B-3100-5B3F663627A6}"/>
          </ac:spMkLst>
        </pc:spChg>
      </pc:sldChg>
      <pc:sldChg chg="del">
        <pc:chgData name="Vihmo Jouni" userId="4ca213fa-a866-453f-972b-b162878f815c" providerId="ADAL" clId="{DC5626EF-A8F5-4748-8E23-70D09DE2D53E}" dt="2024-04-21T06:32:51.998" v="19" actId="2696"/>
        <pc:sldMkLst>
          <pc:docMk/>
          <pc:sldMk cId="2082249119" sldId="2147373941"/>
        </pc:sldMkLst>
      </pc:sldChg>
      <pc:sldChg chg="del ord">
        <pc:chgData name="Vihmo Jouni" userId="4ca213fa-a866-453f-972b-b162878f815c" providerId="ADAL" clId="{DC5626EF-A8F5-4748-8E23-70D09DE2D53E}" dt="2024-04-21T06:36:01.704" v="29" actId="2696"/>
        <pc:sldMkLst>
          <pc:docMk/>
          <pc:sldMk cId="677702120" sldId="2147373942"/>
        </pc:sldMkLst>
      </pc:sldChg>
      <pc:sldChg chg="del">
        <pc:chgData name="Vihmo Jouni" userId="4ca213fa-a866-453f-972b-b162878f815c" providerId="ADAL" clId="{DC5626EF-A8F5-4748-8E23-70D09DE2D53E}" dt="2024-04-21T06:35:25.334" v="27" actId="2696"/>
        <pc:sldMkLst>
          <pc:docMk/>
          <pc:sldMk cId="1130284422" sldId="2147373969"/>
        </pc:sldMkLst>
      </pc:sldChg>
      <pc:sldChg chg="del">
        <pc:chgData name="Vihmo Jouni" userId="4ca213fa-a866-453f-972b-b162878f815c" providerId="ADAL" clId="{DC5626EF-A8F5-4748-8E23-70D09DE2D53E}" dt="2024-04-21T06:32:51.998" v="19" actId="2696"/>
        <pc:sldMkLst>
          <pc:docMk/>
          <pc:sldMk cId="1290044498" sldId="2147373978"/>
        </pc:sldMkLst>
      </pc:sldChg>
      <pc:sldChg chg="add">
        <pc:chgData name="Vihmo Jouni" userId="4ca213fa-a866-453f-972b-b162878f815c" providerId="ADAL" clId="{DC5626EF-A8F5-4748-8E23-70D09DE2D53E}" dt="2024-04-21T06:34:06.567" v="22"/>
        <pc:sldMkLst>
          <pc:docMk/>
          <pc:sldMk cId="1320389587" sldId="2147373981"/>
        </pc:sldMkLst>
      </pc:sldChg>
      <pc:sldChg chg="add">
        <pc:chgData name="Vihmo Jouni" userId="4ca213fa-a866-453f-972b-b162878f815c" providerId="ADAL" clId="{DC5626EF-A8F5-4748-8E23-70D09DE2D53E}" dt="2024-04-21T06:34:06.567" v="22"/>
        <pc:sldMkLst>
          <pc:docMk/>
          <pc:sldMk cId="261342663" sldId="2147373982"/>
        </pc:sldMkLst>
      </pc:sldChg>
      <pc:sldChg chg="del">
        <pc:chgData name="Vihmo Jouni" userId="4ca213fa-a866-453f-972b-b162878f815c" providerId="ADAL" clId="{DC5626EF-A8F5-4748-8E23-70D09DE2D53E}" dt="2024-04-21T06:35:25.334" v="27" actId="2696"/>
        <pc:sldMkLst>
          <pc:docMk/>
          <pc:sldMk cId="1682737090" sldId="2147373990"/>
        </pc:sldMkLst>
      </pc:sldChg>
      <pc:sldChg chg="del">
        <pc:chgData name="Vihmo Jouni" userId="4ca213fa-a866-453f-972b-b162878f815c" providerId="ADAL" clId="{DC5626EF-A8F5-4748-8E23-70D09DE2D53E}" dt="2024-04-21T06:35:36.136" v="28" actId="47"/>
        <pc:sldMkLst>
          <pc:docMk/>
          <pc:sldMk cId="2215216494" sldId="2147373991"/>
        </pc:sldMkLst>
      </pc:sldChg>
      <pc:sldChg chg="modSp mod">
        <pc:chgData name="Vihmo Jouni" userId="4ca213fa-a866-453f-972b-b162878f815c" providerId="ADAL" clId="{DC5626EF-A8F5-4748-8E23-70D09DE2D53E}" dt="2024-04-17T10:34:09.570" v="6" actId="1036"/>
        <pc:sldMkLst>
          <pc:docMk/>
          <pc:sldMk cId="2214066216" sldId="2147373992"/>
        </pc:sldMkLst>
        <pc:spChg chg="mod">
          <ac:chgData name="Vihmo Jouni" userId="4ca213fa-a866-453f-972b-b162878f815c" providerId="ADAL" clId="{DC5626EF-A8F5-4748-8E23-70D09DE2D53E}" dt="2024-04-17T10:34:09.570" v="6" actId="1036"/>
          <ac:spMkLst>
            <pc:docMk/>
            <pc:sldMk cId="2214066216" sldId="2147373992"/>
            <ac:spMk id="8" creationId="{9D44C23B-1939-1036-425C-C66FDA8BF60A}"/>
          </ac:spMkLst>
        </pc:spChg>
      </pc:sldChg>
      <pc:sldChg chg="add">
        <pc:chgData name="Vihmo Jouni" userId="4ca213fa-a866-453f-972b-b162878f815c" providerId="ADAL" clId="{DC5626EF-A8F5-4748-8E23-70D09DE2D53E}" dt="2024-04-21T06:34:06.567" v="22"/>
        <pc:sldMkLst>
          <pc:docMk/>
          <pc:sldMk cId="879028717" sldId="2147373993"/>
        </pc:sldMkLst>
      </pc:sldChg>
      <pc:sldChg chg="add">
        <pc:chgData name="Vihmo Jouni" userId="4ca213fa-a866-453f-972b-b162878f815c" providerId="ADAL" clId="{DC5626EF-A8F5-4748-8E23-70D09DE2D53E}" dt="2024-04-21T06:34:06.567" v="22"/>
        <pc:sldMkLst>
          <pc:docMk/>
          <pc:sldMk cId="1471118414" sldId="2147373994"/>
        </pc:sldMkLst>
      </pc:sldChg>
      <pc:sldChg chg="add">
        <pc:chgData name="Vihmo Jouni" userId="4ca213fa-a866-453f-972b-b162878f815c" providerId="ADAL" clId="{DC5626EF-A8F5-4748-8E23-70D09DE2D53E}" dt="2024-04-21T06:34:06.567" v="22"/>
        <pc:sldMkLst>
          <pc:docMk/>
          <pc:sldMk cId="156519025" sldId="2147373995"/>
        </pc:sldMkLst>
      </pc:sldChg>
      <pc:sldChg chg="add">
        <pc:chgData name="Vihmo Jouni" userId="4ca213fa-a866-453f-972b-b162878f815c" providerId="ADAL" clId="{DC5626EF-A8F5-4748-8E23-70D09DE2D53E}" dt="2024-04-21T06:34:06.567" v="22"/>
        <pc:sldMkLst>
          <pc:docMk/>
          <pc:sldMk cId="4272142978" sldId="2147373996"/>
        </pc:sldMkLst>
      </pc:sldChg>
      <pc:sldChg chg="add">
        <pc:chgData name="Vihmo Jouni" userId="4ca213fa-a866-453f-972b-b162878f815c" providerId="ADAL" clId="{DC5626EF-A8F5-4748-8E23-70D09DE2D53E}" dt="2024-04-21T06:34:06.567" v="22"/>
        <pc:sldMkLst>
          <pc:docMk/>
          <pc:sldMk cId="1406250467" sldId="2147373997"/>
        </pc:sldMkLst>
      </pc:sldChg>
      <pc:sldChg chg="add">
        <pc:chgData name="Vihmo Jouni" userId="4ca213fa-a866-453f-972b-b162878f815c" providerId="ADAL" clId="{DC5626EF-A8F5-4748-8E23-70D09DE2D53E}" dt="2024-04-21T06:34:06.567" v="22"/>
        <pc:sldMkLst>
          <pc:docMk/>
          <pc:sldMk cId="1065281896" sldId="2147373999"/>
        </pc:sldMkLst>
      </pc:sldChg>
      <pc:sldChg chg="add ord">
        <pc:chgData name="Vihmo Jouni" userId="4ca213fa-a866-453f-972b-b162878f815c" providerId="ADAL" clId="{DC5626EF-A8F5-4748-8E23-70D09DE2D53E}" dt="2024-04-21T06:34:50.308" v="24"/>
        <pc:sldMkLst>
          <pc:docMk/>
          <pc:sldMk cId="2511511917" sldId="2147374000"/>
        </pc:sldMkLst>
      </pc:sldChg>
      <pc:sldChg chg="add">
        <pc:chgData name="Vihmo Jouni" userId="4ca213fa-a866-453f-972b-b162878f815c" providerId="ADAL" clId="{DC5626EF-A8F5-4748-8E23-70D09DE2D53E}" dt="2024-04-21T06:34:06.567" v="22"/>
        <pc:sldMkLst>
          <pc:docMk/>
          <pc:sldMk cId="707617790" sldId="2147374001"/>
        </pc:sldMkLst>
      </pc:sldChg>
      <pc:sldChg chg="add del setBg">
        <pc:chgData name="Vihmo Jouni" userId="4ca213fa-a866-453f-972b-b162878f815c" providerId="ADAL" clId="{DC5626EF-A8F5-4748-8E23-70D09DE2D53E}" dt="2024-04-21T06:35:25.334" v="27" actId="2696"/>
        <pc:sldMkLst>
          <pc:docMk/>
          <pc:sldMk cId="508071330" sldId="2147374002"/>
        </pc:sldMkLst>
      </pc:sldChg>
      <pc:sldMasterChg chg="delSldLayout">
        <pc:chgData name="Vihmo Jouni" userId="4ca213fa-a866-453f-972b-b162878f815c" providerId="ADAL" clId="{DC5626EF-A8F5-4748-8E23-70D09DE2D53E}" dt="2024-04-21T06:32:51.998" v="19" actId="2696"/>
        <pc:sldMasterMkLst>
          <pc:docMk/>
          <pc:sldMasterMk cId="1805094857" sldId="2147483660"/>
        </pc:sldMasterMkLst>
        <pc:sldLayoutChg chg="del">
          <pc:chgData name="Vihmo Jouni" userId="4ca213fa-a866-453f-972b-b162878f815c" providerId="ADAL" clId="{DC5626EF-A8F5-4748-8E23-70D09DE2D53E}" dt="2024-04-21T06:32:51.998" v="19" actId="2696"/>
          <pc:sldLayoutMkLst>
            <pc:docMk/>
            <pc:sldMasterMk cId="1805094857" sldId="2147483660"/>
            <pc:sldLayoutMk cId="1207214898" sldId="2147483831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ennuste/RT/2023_1/Onko%20Suomessa%20asuntokupla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RT/Misc/asuntokunnat%20ja%20v&#228;est&#246;%202030%20ja%202040%20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ennuste/RT/2024_1/osakeasuntojen%20hinnat%201983.xlsx" TargetMode="Externa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4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ennuste/RT/2022_2/Uudet%20kalvot%20kuviot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ennuste/RT/2022_2/Uudet%20kalvot%20kuviot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ennuste/RT/2022_2/Uudet%20kalvot%20kuviot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ennuste/RT/2022_2/Uudet%20kalvot%20kuviot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Hallitus/2023/Arvonlis&#228;ys%20volyymi%20luva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Hallitus/2023/asuntojen%20hinnat%20pohjosmaat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ennuste/RT/2024_1/KTI%20merkitt&#228;v&#228;t%20kiinteist&#246;kaupat%202023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Hallitus/2022/lainat%20ja%20rakentaminen.xlsx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ennuste/RT/2024_1/sb%20rakentaminen%20henkil&#246;st&#246;luvut%20kausitasoitettuna%20ja%20myym&#228;tt&#246;m&#228;t%20asuinhuoneistot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2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Hallitus/Asuntov&#228;est&#246;%20hallintamuodon%20mukaan%20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elinkeinoelama-my.sharepoint.com/personal/jouni_vihmo_rakennusteollisuus_fi/Documents/RT/Hallitus/2024/Uudet%20ja%20vanhat%202015%20100.xlsx" TargetMode="Externa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i-FI" sz="1400" b="1" i="0" u="none" strike="noStrike" baseline="0">
                <a:effectLst/>
              </a:rPr>
              <a:t>Rakentaminen ui tilastohistoriallisen syvällä </a:t>
            </a:r>
          </a:p>
          <a:p>
            <a:pPr algn="l">
              <a:defRPr/>
            </a:pPr>
            <a:r>
              <a:rPr lang="fi-FI" sz="1200" b="0" i="0" u="none" strike="noStrike" baseline="0">
                <a:effectLst/>
              </a:rPr>
              <a:t>Aloitus- ja lupakuutiot (kausitasoitus, m³)</a:t>
            </a:r>
            <a:endParaRPr lang="fi-FI" sz="1200"/>
          </a:p>
        </c:rich>
      </c:tx>
      <c:layout>
        <c:manualLayout>
          <c:xMode val="edge"/>
          <c:yMode val="edge"/>
          <c:x val="2.1765071718812375E-4"/>
          <c:y val="5.689900426742532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4.9727942522787554E-2"/>
          <c:y val="0.138303558427885"/>
          <c:w val="0.93857615202366373"/>
          <c:h val="0.7496838073050258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'm3 kausi'!$D$4</c:f>
              <c:strCache>
                <c:ptCount val="1"/>
                <c:pt idx="0">
                  <c:v>Taantuma / matalasuhdanne</c:v>
                </c:pt>
              </c:strCache>
            </c:strRef>
          </c:tx>
          <c:spPr>
            <a:solidFill>
              <a:srgbClr val="788797">
                <a:alpha val="40000"/>
              </a:srgbClr>
            </a:solidFill>
            <a:ln>
              <a:noFill/>
            </a:ln>
            <a:effectLst/>
          </c:spPr>
          <c:invertIfNegative val="0"/>
          <c:cat>
            <c:numRef>
              <c:f>'m3 kausi'!$A$5:$A$352</c:f>
              <c:numCache>
                <c:formatCode>m/d/yyyy</c:formatCode>
                <c:ptCount val="348"/>
                <c:pt idx="0">
                  <c:v>34700</c:v>
                </c:pt>
                <c:pt idx="1">
                  <c:v>34731</c:v>
                </c:pt>
                <c:pt idx="2">
                  <c:v>34759</c:v>
                </c:pt>
                <c:pt idx="3">
                  <c:v>34790</c:v>
                </c:pt>
                <c:pt idx="4">
                  <c:v>34820</c:v>
                </c:pt>
                <c:pt idx="5">
                  <c:v>34851</c:v>
                </c:pt>
                <c:pt idx="6">
                  <c:v>34881</c:v>
                </c:pt>
                <c:pt idx="7">
                  <c:v>34912</c:v>
                </c:pt>
                <c:pt idx="8">
                  <c:v>34943</c:v>
                </c:pt>
                <c:pt idx="9">
                  <c:v>34973</c:v>
                </c:pt>
                <c:pt idx="10">
                  <c:v>35004</c:v>
                </c:pt>
                <c:pt idx="11">
                  <c:v>35034</c:v>
                </c:pt>
                <c:pt idx="12">
                  <c:v>35065</c:v>
                </c:pt>
                <c:pt idx="13">
                  <c:v>35096</c:v>
                </c:pt>
                <c:pt idx="14">
                  <c:v>35125</c:v>
                </c:pt>
                <c:pt idx="15">
                  <c:v>35156</c:v>
                </c:pt>
                <c:pt idx="16">
                  <c:v>35186</c:v>
                </c:pt>
                <c:pt idx="17">
                  <c:v>35217</c:v>
                </c:pt>
                <c:pt idx="18">
                  <c:v>35247</c:v>
                </c:pt>
                <c:pt idx="19">
                  <c:v>35278</c:v>
                </c:pt>
                <c:pt idx="20">
                  <c:v>35309</c:v>
                </c:pt>
                <c:pt idx="21">
                  <c:v>35339</c:v>
                </c:pt>
                <c:pt idx="22">
                  <c:v>35370</c:v>
                </c:pt>
                <c:pt idx="23">
                  <c:v>35400</c:v>
                </c:pt>
                <c:pt idx="24">
                  <c:v>35431</c:v>
                </c:pt>
                <c:pt idx="25">
                  <c:v>35462</c:v>
                </c:pt>
                <c:pt idx="26">
                  <c:v>35490</c:v>
                </c:pt>
                <c:pt idx="27">
                  <c:v>35521</c:v>
                </c:pt>
                <c:pt idx="28">
                  <c:v>35551</c:v>
                </c:pt>
                <c:pt idx="29">
                  <c:v>35582</c:v>
                </c:pt>
                <c:pt idx="30">
                  <c:v>35612</c:v>
                </c:pt>
                <c:pt idx="31">
                  <c:v>35643</c:v>
                </c:pt>
                <c:pt idx="32">
                  <c:v>35674</c:v>
                </c:pt>
                <c:pt idx="33">
                  <c:v>35704</c:v>
                </c:pt>
                <c:pt idx="34">
                  <c:v>35735</c:v>
                </c:pt>
                <c:pt idx="35">
                  <c:v>35765</c:v>
                </c:pt>
                <c:pt idx="36">
                  <c:v>35796</c:v>
                </c:pt>
                <c:pt idx="37">
                  <c:v>35827</c:v>
                </c:pt>
                <c:pt idx="38">
                  <c:v>35855</c:v>
                </c:pt>
                <c:pt idx="39">
                  <c:v>35886</c:v>
                </c:pt>
                <c:pt idx="40">
                  <c:v>35916</c:v>
                </c:pt>
                <c:pt idx="41">
                  <c:v>35947</c:v>
                </c:pt>
                <c:pt idx="42">
                  <c:v>35977</c:v>
                </c:pt>
                <c:pt idx="43">
                  <c:v>36008</c:v>
                </c:pt>
                <c:pt idx="44">
                  <c:v>36039</c:v>
                </c:pt>
                <c:pt idx="45">
                  <c:v>36069</c:v>
                </c:pt>
                <c:pt idx="46">
                  <c:v>36100</c:v>
                </c:pt>
                <c:pt idx="47">
                  <c:v>36130</c:v>
                </c:pt>
                <c:pt idx="48">
                  <c:v>36161</c:v>
                </c:pt>
                <c:pt idx="49">
                  <c:v>36192</c:v>
                </c:pt>
                <c:pt idx="50">
                  <c:v>36220</c:v>
                </c:pt>
                <c:pt idx="51">
                  <c:v>36251</c:v>
                </c:pt>
                <c:pt idx="52">
                  <c:v>36281</c:v>
                </c:pt>
                <c:pt idx="53">
                  <c:v>36312</c:v>
                </c:pt>
                <c:pt idx="54">
                  <c:v>36342</c:v>
                </c:pt>
                <c:pt idx="55">
                  <c:v>36373</c:v>
                </c:pt>
                <c:pt idx="56">
                  <c:v>36404</c:v>
                </c:pt>
                <c:pt idx="57">
                  <c:v>36434</c:v>
                </c:pt>
                <c:pt idx="58">
                  <c:v>36465</c:v>
                </c:pt>
                <c:pt idx="59">
                  <c:v>36495</c:v>
                </c:pt>
                <c:pt idx="60">
                  <c:v>36526</c:v>
                </c:pt>
                <c:pt idx="61">
                  <c:v>36557</c:v>
                </c:pt>
                <c:pt idx="62">
                  <c:v>36586</c:v>
                </c:pt>
                <c:pt idx="63">
                  <c:v>36617</c:v>
                </c:pt>
                <c:pt idx="64">
                  <c:v>36647</c:v>
                </c:pt>
                <c:pt idx="65">
                  <c:v>36678</c:v>
                </c:pt>
                <c:pt idx="66">
                  <c:v>36708</c:v>
                </c:pt>
                <c:pt idx="67">
                  <c:v>36739</c:v>
                </c:pt>
                <c:pt idx="68">
                  <c:v>36770</c:v>
                </c:pt>
                <c:pt idx="69">
                  <c:v>36800</c:v>
                </c:pt>
                <c:pt idx="70">
                  <c:v>36831</c:v>
                </c:pt>
                <c:pt idx="71">
                  <c:v>36861</c:v>
                </c:pt>
                <c:pt idx="72">
                  <c:v>36892</c:v>
                </c:pt>
                <c:pt idx="73">
                  <c:v>36923</c:v>
                </c:pt>
                <c:pt idx="74">
                  <c:v>36951</c:v>
                </c:pt>
                <c:pt idx="75">
                  <c:v>36982</c:v>
                </c:pt>
                <c:pt idx="76">
                  <c:v>37012</c:v>
                </c:pt>
                <c:pt idx="77">
                  <c:v>37043</c:v>
                </c:pt>
                <c:pt idx="78">
                  <c:v>37073</c:v>
                </c:pt>
                <c:pt idx="79">
                  <c:v>37104</c:v>
                </c:pt>
                <c:pt idx="80">
                  <c:v>37135</c:v>
                </c:pt>
                <c:pt idx="81">
                  <c:v>37165</c:v>
                </c:pt>
                <c:pt idx="82">
                  <c:v>37196</c:v>
                </c:pt>
                <c:pt idx="83">
                  <c:v>37226</c:v>
                </c:pt>
                <c:pt idx="84">
                  <c:v>37257</c:v>
                </c:pt>
                <c:pt idx="85">
                  <c:v>37288</c:v>
                </c:pt>
                <c:pt idx="86">
                  <c:v>37316</c:v>
                </c:pt>
                <c:pt idx="87">
                  <c:v>37347</c:v>
                </c:pt>
                <c:pt idx="88">
                  <c:v>37377</c:v>
                </c:pt>
                <c:pt idx="89">
                  <c:v>37408</c:v>
                </c:pt>
                <c:pt idx="90">
                  <c:v>37438</c:v>
                </c:pt>
                <c:pt idx="91">
                  <c:v>37469</c:v>
                </c:pt>
                <c:pt idx="92">
                  <c:v>37500</c:v>
                </c:pt>
                <c:pt idx="93">
                  <c:v>37530</c:v>
                </c:pt>
                <c:pt idx="94">
                  <c:v>37561</c:v>
                </c:pt>
                <c:pt idx="95">
                  <c:v>37591</c:v>
                </c:pt>
                <c:pt idx="96">
                  <c:v>37622</c:v>
                </c:pt>
                <c:pt idx="97">
                  <c:v>37653</c:v>
                </c:pt>
                <c:pt idx="98">
                  <c:v>37681</c:v>
                </c:pt>
                <c:pt idx="99">
                  <c:v>37712</c:v>
                </c:pt>
                <c:pt idx="100">
                  <c:v>37742</c:v>
                </c:pt>
                <c:pt idx="101">
                  <c:v>37773</c:v>
                </c:pt>
                <c:pt idx="102">
                  <c:v>37803</c:v>
                </c:pt>
                <c:pt idx="103">
                  <c:v>37834</c:v>
                </c:pt>
                <c:pt idx="104">
                  <c:v>37865</c:v>
                </c:pt>
                <c:pt idx="105">
                  <c:v>37895</c:v>
                </c:pt>
                <c:pt idx="106">
                  <c:v>37926</c:v>
                </c:pt>
                <c:pt idx="107">
                  <c:v>37956</c:v>
                </c:pt>
                <c:pt idx="108">
                  <c:v>37987</c:v>
                </c:pt>
                <c:pt idx="109">
                  <c:v>38018</c:v>
                </c:pt>
                <c:pt idx="110">
                  <c:v>38047</c:v>
                </c:pt>
                <c:pt idx="111">
                  <c:v>38078</c:v>
                </c:pt>
                <c:pt idx="112">
                  <c:v>38108</c:v>
                </c:pt>
                <c:pt idx="113">
                  <c:v>38139</c:v>
                </c:pt>
                <c:pt idx="114">
                  <c:v>38169</c:v>
                </c:pt>
                <c:pt idx="115">
                  <c:v>38200</c:v>
                </c:pt>
                <c:pt idx="116">
                  <c:v>38231</c:v>
                </c:pt>
                <c:pt idx="117">
                  <c:v>38261</c:v>
                </c:pt>
                <c:pt idx="118">
                  <c:v>38292</c:v>
                </c:pt>
                <c:pt idx="119">
                  <c:v>38322</c:v>
                </c:pt>
                <c:pt idx="120">
                  <c:v>38353</c:v>
                </c:pt>
                <c:pt idx="121">
                  <c:v>38384</c:v>
                </c:pt>
                <c:pt idx="122">
                  <c:v>38412</c:v>
                </c:pt>
                <c:pt idx="123">
                  <c:v>38443</c:v>
                </c:pt>
                <c:pt idx="124">
                  <c:v>38473</c:v>
                </c:pt>
                <c:pt idx="125">
                  <c:v>38504</c:v>
                </c:pt>
                <c:pt idx="126">
                  <c:v>38534</c:v>
                </c:pt>
                <c:pt idx="127">
                  <c:v>38565</c:v>
                </c:pt>
                <c:pt idx="128">
                  <c:v>38596</c:v>
                </c:pt>
                <c:pt idx="129">
                  <c:v>38626</c:v>
                </c:pt>
                <c:pt idx="130">
                  <c:v>38657</c:v>
                </c:pt>
                <c:pt idx="131">
                  <c:v>38687</c:v>
                </c:pt>
                <c:pt idx="132">
                  <c:v>38718</c:v>
                </c:pt>
                <c:pt idx="133">
                  <c:v>38749</c:v>
                </c:pt>
                <c:pt idx="134">
                  <c:v>38777</c:v>
                </c:pt>
                <c:pt idx="135">
                  <c:v>38808</c:v>
                </c:pt>
                <c:pt idx="136">
                  <c:v>38838</c:v>
                </c:pt>
                <c:pt idx="137">
                  <c:v>38869</c:v>
                </c:pt>
                <c:pt idx="138">
                  <c:v>38899</c:v>
                </c:pt>
                <c:pt idx="139">
                  <c:v>38930</c:v>
                </c:pt>
                <c:pt idx="140">
                  <c:v>38961</c:v>
                </c:pt>
                <c:pt idx="141">
                  <c:v>38991</c:v>
                </c:pt>
                <c:pt idx="142">
                  <c:v>39022</c:v>
                </c:pt>
                <c:pt idx="143">
                  <c:v>39052</c:v>
                </c:pt>
                <c:pt idx="144">
                  <c:v>39083</c:v>
                </c:pt>
                <c:pt idx="145">
                  <c:v>39114</c:v>
                </c:pt>
                <c:pt idx="146">
                  <c:v>39142</c:v>
                </c:pt>
                <c:pt idx="147">
                  <c:v>39173</c:v>
                </c:pt>
                <c:pt idx="148">
                  <c:v>39203</c:v>
                </c:pt>
                <c:pt idx="149">
                  <c:v>39234</c:v>
                </c:pt>
                <c:pt idx="150">
                  <c:v>39264</c:v>
                </c:pt>
                <c:pt idx="151">
                  <c:v>39295</c:v>
                </c:pt>
                <c:pt idx="152">
                  <c:v>39326</c:v>
                </c:pt>
                <c:pt idx="153">
                  <c:v>39356</c:v>
                </c:pt>
                <c:pt idx="154">
                  <c:v>39387</c:v>
                </c:pt>
                <c:pt idx="155">
                  <c:v>39417</c:v>
                </c:pt>
                <c:pt idx="156">
                  <c:v>39448</c:v>
                </c:pt>
                <c:pt idx="157">
                  <c:v>39479</c:v>
                </c:pt>
                <c:pt idx="158">
                  <c:v>39508</c:v>
                </c:pt>
                <c:pt idx="159">
                  <c:v>39539</c:v>
                </c:pt>
                <c:pt idx="160">
                  <c:v>39569</c:v>
                </c:pt>
                <c:pt idx="161">
                  <c:v>39600</c:v>
                </c:pt>
                <c:pt idx="162">
                  <c:v>39630</c:v>
                </c:pt>
                <c:pt idx="163">
                  <c:v>39661</c:v>
                </c:pt>
                <c:pt idx="164">
                  <c:v>39692</c:v>
                </c:pt>
                <c:pt idx="165">
                  <c:v>39722</c:v>
                </c:pt>
                <c:pt idx="166">
                  <c:v>39753</c:v>
                </c:pt>
                <c:pt idx="167">
                  <c:v>39783</c:v>
                </c:pt>
                <c:pt idx="168">
                  <c:v>39814</c:v>
                </c:pt>
                <c:pt idx="169">
                  <c:v>39845</c:v>
                </c:pt>
                <c:pt idx="170">
                  <c:v>39873</c:v>
                </c:pt>
                <c:pt idx="171">
                  <c:v>39904</c:v>
                </c:pt>
                <c:pt idx="172">
                  <c:v>39934</c:v>
                </c:pt>
                <c:pt idx="173">
                  <c:v>39965</c:v>
                </c:pt>
                <c:pt idx="174">
                  <c:v>39995</c:v>
                </c:pt>
                <c:pt idx="175">
                  <c:v>40026</c:v>
                </c:pt>
                <c:pt idx="176">
                  <c:v>40057</c:v>
                </c:pt>
                <c:pt idx="177">
                  <c:v>40087</c:v>
                </c:pt>
                <c:pt idx="178">
                  <c:v>40118</c:v>
                </c:pt>
                <c:pt idx="179">
                  <c:v>40148</c:v>
                </c:pt>
                <c:pt idx="180">
                  <c:v>40179</c:v>
                </c:pt>
                <c:pt idx="181">
                  <c:v>40210</c:v>
                </c:pt>
                <c:pt idx="182">
                  <c:v>40238</c:v>
                </c:pt>
                <c:pt idx="183">
                  <c:v>40269</c:v>
                </c:pt>
                <c:pt idx="184">
                  <c:v>40299</c:v>
                </c:pt>
                <c:pt idx="185">
                  <c:v>40330</c:v>
                </c:pt>
                <c:pt idx="186">
                  <c:v>40360</c:v>
                </c:pt>
                <c:pt idx="187">
                  <c:v>40391</c:v>
                </c:pt>
                <c:pt idx="188">
                  <c:v>40422</c:v>
                </c:pt>
                <c:pt idx="189">
                  <c:v>40452</c:v>
                </c:pt>
                <c:pt idx="190">
                  <c:v>40483</c:v>
                </c:pt>
                <c:pt idx="191">
                  <c:v>40513</c:v>
                </c:pt>
                <c:pt idx="192">
                  <c:v>40544</c:v>
                </c:pt>
                <c:pt idx="193">
                  <c:v>40575</c:v>
                </c:pt>
                <c:pt idx="194">
                  <c:v>40603</c:v>
                </c:pt>
                <c:pt idx="195">
                  <c:v>40634</c:v>
                </c:pt>
                <c:pt idx="196">
                  <c:v>40664</c:v>
                </c:pt>
                <c:pt idx="197">
                  <c:v>40695</c:v>
                </c:pt>
                <c:pt idx="198">
                  <c:v>40725</c:v>
                </c:pt>
                <c:pt idx="199">
                  <c:v>40756</c:v>
                </c:pt>
                <c:pt idx="200">
                  <c:v>40787</c:v>
                </c:pt>
                <c:pt idx="201">
                  <c:v>40817</c:v>
                </c:pt>
                <c:pt idx="202">
                  <c:v>40848</c:v>
                </c:pt>
                <c:pt idx="203">
                  <c:v>40878</c:v>
                </c:pt>
                <c:pt idx="204">
                  <c:v>40909</c:v>
                </c:pt>
                <c:pt idx="205">
                  <c:v>40940</c:v>
                </c:pt>
                <c:pt idx="206">
                  <c:v>40969</c:v>
                </c:pt>
                <c:pt idx="207">
                  <c:v>41000</c:v>
                </c:pt>
                <c:pt idx="208">
                  <c:v>41030</c:v>
                </c:pt>
                <c:pt idx="209">
                  <c:v>41061</c:v>
                </c:pt>
                <c:pt idx="210">
                  <c:v>41091</c:v>
                </c:pt>
                <c:pt idx="211">
                  <c:v>41122</c:v>
                </c:pt>
                <c:pt idx="212">
                  <c:v>41153</c:v>
                </c:pt>
                <c:pt idx="213">
                  <c:v>41183</c:v>
                </c:pt>
                <c:pt idx="214">
                  <c:v>41214</c:v>
                </c:pt>
                <c:pt idx="215">
                  <c:v>41244</c:v>
                </c:pt>
                <c:pt idx="216">
                  <c:v>41275</c:v>
                </c:pt>
                <c:pt idx="217">
                  <c:v>41306</c:v>
                </c:pt>
                <c:pt idx="218">
                  <c:v>41334</c:v>
                </c:pt>
                <c:pt idx="219">
                  <c:v>41365</c:v>
                </c:pt>
                <c:pt idx="220">
                  <c:v>41395</c:v>
                </c:pt>
                <c:pt idx="221">
                  <c:v>41426</c:v>
                </c:pt>
                <c:pt idx="222">
                  <c:v>41456</c:v>
                </c:pt>
                <c:pt idx="223">
                  <c:v>41487</c:v>
                </c:pt>
                <c:pt idx="224">
                  <c:v>41518</c:v>
                </c:pt>
                <c:pt idx="225">
                  <c:v>41548</c:v>
                </c:pt>
                <c:pt idx="226">
                  <c:v>41579</c:v>
                </c:pt>
                <c:pt idx="227">
                  <c:v>41609</c:v>
                </c:pt>
                <c:pt idx="228">
                  <c:v>41640</c:v>
                </c:pt>
                <c:pt idx="229">
                  <c:v>41671</c:v>
                </c:pt>
                <c:pt idx="230">
                  <c:v>41699</c:v>
                </c:pt>
                <c:pt idx="231">
                  <c:v>41730</c:v>
                </c:pt>
                <c:pt idx="232">
                  <c:v>41760</c:v>
                </c:pt>
                <c:pt idx="233">
                  <c:v>41791</c:v>
                </c:pt>
                <c:pt idx="234">
                  <c:v>41821</c:v>
                </c:pt>
                <c:pt idx="235">
                  <c:v>41852</c:v>
                </c:pt>
                <c:pt idx="236">
                  <c:v>41883</c:v>
                </c:pt>
                <c:pt idx="237">
                  <c:v>41913</c:v>
                </c:pt>
                <c:pt idx="238">
                  <c:v>41944</c:v>
                </c:pt>
                <c:pt idx="239">
                  <c:v>41974</c:v>
                </c:pt>
                <c:pt idx="240">
                  <c:v>42005</c:v>
                </c:pt>
                <c:pt idx="241">
                  <c:v>42036</c:v>
                </c:pt>
                <c:pt idx="242">
                  <c:v>42064</c:v>
                </c:pt>
                <c:pt idx="243">
                  <c:v>42095</c:v>
                </c:pt>
                <c:pt idx="244">
                  <c:v>42125</c:v>
                </c:pt>
                <c:pt idx="245">
                  <c:v>42156</c:v>
                </c:pt>
                <c:pt idx="246">
                  <c:v>42186</c:v>
                </c:pt>
                <c:pt idx="247">
                  <c:v>42217</c:v>
                </c:pt>
                <c:pt idx="248">
                  <c:v>42248</c:v>
                </c:pt>
                <c:pt idx="249">
                  <c:v>42278</c:v>
                </c:pt>
                <c:pt idx="250">
                  <c:v>42309</c:v>
                </c:pt>
                <c:pt idx="251">
                  <c:v>42339</c:v>
                </c:pt>
                <c:pt idx="252">
                  <c:v>42370</c:v>
                </c:pt>
                <c:pt idx="253">
                  <c:v>42401</c:v>
                </c:pt>
                <c:pt idx="254">
                  <c:v>42430</c:v>
                </c:pt>
                <c:pt idx="255">
                  <c:v>42461</c:v>
                </c:pt>
                <c:pt idx="256">
                  <c:v>42491</c:v>
                </c:pt>
                <c:pt idx="257">
                  <c:v>42522</c:v>
                </c:pt>
                <c:pt idx="258">
                  <c:v>42552</c:v>
                </c:pt>
                <c:pt idx="259">
                  <c:v>42583</c:v>
                </c:pt>
                <c:pt idx="260">
                  <c:v>42614</c:v>
                </c:pt>
                <c:pt idx="261">
                  <c:v>42644</c:v>
                </c:pt>
                <c:pt idx="262">
                  <c:v>42675</c:v>
                </c:pt>
                <c:pt idx="263">
                  <c:v>42705</c:v>
                </c:pt>
                <c:pt idx="264">
                  <c:v>42736</c:v>
                </c:pt>
                <c:pt idx="265">
                  <c:v>42767</c:v>
                </c:pt>
                <c:pt idx="266">
                  <c:v>42795</c:v>
                </c:pt>
                <c:pt idx="267">
                  <c:v>42826</c:v>
                </c:pt>
                <c:pt idx="268">
                  <c:v>42856</c:v>
                </c:pt>
                <c:pt idx="269">
                  <c:v>42887</c:v>
                </c:pt>
                <c:pt idx="270">
                  <c:v>42917</c:v>
                </c:pt>
                <c:pt idx="271">
                  <c:v>42948</c:v>
                </c:pt>
                <c:pt idx="272">
                  <c:v>42979</c:v>
                </c:pt>
                <c:pt idx="273">
                  <c:v>43009</c:v>
                </c:pt>
                <c:pt idx="274">
                  <c:v>43040</c:v>
                </c:pt>
                <c:pt idx="275">
                  <c:v>43070</c:v>
                </c:pt>
                <c:pt idx="276">
                  <c:v>43101</c:v>
                </c:pt>
                <c:pt idx="277">
                  <c:v>43132</c:v>
                </c:pt>
                <c:pt idx="278">
                  <c:v>43160</c:v>
                </c:pt>
                <c:pt idx="279">
                  <c:v>43191</c:v>
                </c:pt>
                <c:pt idx="280">
                  <c:v>43221</c:v>
                </c:pt>
                <c:pt idx="281">
                  <c:v>43252</c:v>
                </c:pt>
                <c:pt idx="282">
                  <c:v>43282</c:v>
                </c:pt>
                <c:pt idx="283">
                  <c:v>43313</c:v>
                </c:pt>
                <c:pt idx="284">
                  <c:v>43344</c:v>
                </c:pt>
                <c:pt idx="285">
                  <c:v>43374</c:v>
                </c:pt>
                <c:pt idx="286">
                  <c:v>43405</c:v>
                </c:pt>
                <c:pt idx="287">
                  <c:v>43435</c:v>
                </c:pt>
                <c:pt idx="288">
                  <c:v>43466</c:v>
                </c:pt>
                <c:pt idx="289">
                  <c:v>43497</c:v>
                </c:pt>
                <c:pt idx="290">
                  <c:v>43525</c:v>
                </c:pt>
                <c:pt idx="291">
                  <c:v>43556</c:v>
                </c:pt>
                <c:pt idx="292">
                  <c:v>43586</c:v>
                </c:pt>
                <c:pt idx="293">
                  <c:v>43617</c:v>
                </c:pt>
                <c:pt idx="294">
                  <c:v>43647</c:v>
                </c:pt>
                <c:pt idx="295">
                  <c:v>43678</c:v>
                </c:pt>
                <c:pt idx="296">
                  <c:v>43709</c:v>
                </c:pt>
                <c:pt idx="297">
                  <c:v>43739</c:v>
                </c:pt>
                <c:pt idx="298">
                  <c:v>43770</c:v>
                </c:pt>
                <c:pt idx="299">
                  <c:v>43800</c:v>
                </c:pt>
                <c:pt idx="300">
                  <c:v>43831</c:v>
                </c:pt>
                <c:pt idx="301">
                  <c:v>43862</c:v>
                </c:pt>
                <c:pt idx="302">
                  <c:v>43891</c:v>
                </c:pt>
                <c:pt idx="303">
                  <c:v>43922</c:v>
                </c:pt>
                <c:pt idx="304">
                  <c:v>43952</c:v>
                </c:pt>
                <c:pt idx="305">
                  <c:v>43983</c:v>
                </c:pt>
                <c:pt idx="306">
                  <c:v>44013</c:v>
                </c:pt>
                <c:pt idx="307">
                  <c:v>44044</c:v>
                </c:pt>
                <c:pt idx="308">
                  <c:v>44075</c:v>
                </c:pt>
                <c:pt idx="309">
                  <c:v>44105</c:v>
                </c:pt>
                <c:pt idx="310">
                  <c:v>44136</c:v>
                </c:pt>
                <c:pt idx="311">
                  <c:v>44166</c:v>
                </c:pt>
                <c:pt idx="312">
                  <c:v>44197</c:v>
                </c:pt>
                <c:pt idx="313">
                  <c:v>44228</c:v>
                </c:pt>
                <c:pt idx="314">
                  <c:v>44256</c:v>
                </c:pt>
                <c:pt idx="315">
                  <c:v>44287</c:v>
                </c:pt>
                <c:pt idx="316">
                  <c:v>44317</c:v>
                </c:pt>
                <c:pt idx="317">
                  <c:v>44348</c:v>
                </c:pt>
                <c:pt idx="318">
                  <c:v>44378</c:v>
                </c:pt>
                <c:pt idx="319">
                  <c:v>44409</c:v>
                </c:pt>
                <c:pt idx="320">
                  <c:v>44440</c:v>
                </c:pt>
                <c:pt idx="321">
                  <c:v>44470</c:v>
                </c:pt>
                <c:pt idx="322">
                  <c:v>44501</c:v>
                </c:pt>
                <c:pt idx="323">
                  <c:v>44531</c:v>
                </c:pt>
                <c:pt idx="324">
                  <c:v>44562</c:v>
                </c:pt>
                <c:pt idx="325">
                  <c:v>44593</c:v>
                </c:pt>
                <c:pt idx="326">
                  <c:v>44621</c:v>
                </c:pt>
                <c:pt idx="327">
                  <c:v>44652</c:v>
                </c:pt>
                <c:pt idx="328">
                  <c:v>44682</c:v>
                </c:pt>
                <c:pt idx="329">
                  <c:v>44713</c:v>
                </c:pt>
                <c:pt idx="330">
                  <c:v>44743</c:v>
                </c:pt>
                <c:pt idx="331">
                  <c:v>44774</c:v>
                </c:pt>
                <c:pt idx="332">
                  <c:v>44805</c:v>
                </c:pt>
                <c:pt idx="333">
                  <c:v>44835</c:v>
                </c:pt>
                <c:pt idx="334">
                  <c:v>44866</c:v>
                </c:pt>
                <c:pt idx="335">
                  <c:v>44896</c:v>
                </c:pt>
                <c:pt idx="336">
                  <c:v>44927</c:v>
                </c:pt>
                <c:pt idx="337">
                  <c:v>44958</c:v>
                </c:pt>
                <c:pt idx="338">
                  <c:v>44986</c:v>
                </c:pt>
                <c:pt idx="339">
                  <c:v>45017</c:v>
                </c:pt>
                <c:pt idx="340">
                  <c:v>45047</c:v>
                </c:pt>
                <c:pt idx="341">
                  <c:v>45078</c:v>
                </c:pt>
                <c:pt idx="342">
                  <c:v>45108</c:v>
                </c:pt>
                <c:pt idx="343">
                  <c:v>45139</c:v>
                </c:pt>
                <c:pt idx="344">
                  <c:v>45170</c:v>
                </c:pt>
                <c:pt idx="345">
                  <c:v>45200</c:v>
                </c:pt>
                <c:pt idx="346">
                  <c:v>45231</c:v>
                </c:pt>
                <c:pt idx="347">
                  <c:v>45261</c:v>
                </c:pt>
              </c:numCache>
            </c:numRef>
          </c:cat>
          <c:val>
            <c:numRef>
              <c:f>'m3 kausi'!$D$5:$D$352</c:f>
              <c:numCache>
                <c:formatCode>General</c:formatCode>
                <c:ptCount val="348"/>
                <c:pt idx="79">
                  <c:v>7000000</c:v>
                </c:pt>
                <c:pt idx="80">
                  <c:v>7000000</c:v>
                </c:pt>
                <c:pt idx="81">
                  <c:v>7000000</c:v>
                </c:pt>
                <c:pt idx="82">
                  <c:v>7000000</c:v>
                </c:pt>
                <c:pt idx="156">
                  <c:v>7000000</c:v>
                </c:pt>
                <c:pt idx="157">
                  <c:v>7000000</c:v>
                </c:pt>
                <c:pt idx="158">
                  <c:v>7000000</c:v>
                </c:pt>
                <c:pt idx="159">
                  <c:v>7000000</c:v>
                </c:pt>
                <c:pt idx="160">
                  <c:v>7000000</c:v>
                </c:pt>
                <c:pt idx="161">
                  <c:v>7000000</c:v>
                </c:pt>
                <c:pt idx="162">
                  <c:v>7000000</c:v>
                </c:pt>
                <c:pt idx="163">
                  <c:v>7000000</c:v>
                </c:pt>
                <c:pt idx="164">
                  <c:v>7000000</c:v>
                </c:pt>
                <c:pt idx="165">
                  <c:v>7000000</c:v>
                </c:pt>
                <c:pt idx="166">
                  <c:v>7000000</c:v>
                </c:pt>
                <c:pt idx="167">
                  <c:v>7000000</c:v>
                </c:pt>
                <c:pt idx="168">
                  <c:v>7000000</c:v>
                </c:pt>
                <c:pt idx="169">
                  <c:v>7000000</c:v>
                </c:pt>
                <c:pt idx="170">
                  <c:v>7000000</c:v>
                </c:pt>
                <c:pt idx="171">
                  <c:v>7000000</c:v>
                </c:pt>
                <c:pt idx="172">
                  <c:v>7000000</c:v>
                </c:pt>
                <c:pt idx="173">
                  <c:v>7000000</c:v>
                </c:pt>
                <c:pt idx="204">
                  <c:v>7000000</c:v>
                </c:pt>
                <c:pt idx="205">
                  <c:v>7000000</c:v>
                </c:pt>
                <c:pt idx="206">
                  <c:v>7000000</c:v>
                </c:pt>
                <c:pt idx="207">
                  <c:v>7000000</c:v>
                </c:pt>
                <c:pt idx="208">
                  <c:v>7000000</c:v>
                </c:pt>
                <c:pt idx="209">
                  <c:v>7000000</c:v>
                </c:pt>
                <c:pt idx="210">
                  <c:v>7000000</c:v>
                </c:pt>
                <c:pt idx="211">
                  <c:v>7000000</c:v>
                </c:pt>
                <c:pt idx="212">
                  <c:v>7000000</c:v>
                </c:pt>
                <c:pt idx="213">
                  <c:v>7000000</c:v>
                </c:pt>
                <c:pt idx="214">
                  <c:v>7000000</c:v>
                </c:pt>
                <c:pt idx="215">
                  <c:v>7000000</c:v>
                </c:pt>
                <c:pt idx="216">
                  <c:v>7000000</c:v>
                </c:pt>
                <c:pt idx="217">
                  <c:v>7000000</c:v>
                </c:pt>
                <c:pt idx="218">
                  <c:v>7000000</c:v>
                </c:pt>
                <c:pt idx="297">
                  <c:v>7000000</c:v>
                </c:pt>
                <c:pt idx="298">
                  <c:v>7000000</c:v>
                </c:pt>
                <c:pt idx="299">
                  <c:v>7000000</c:v>
                </c:pt>
                <c:pt idx="300">
                  <c:v>7000000</c:v>
                </c:pt>
                <c:pt idx="301">
                  <c:v>7000000</c:v>
                </c:pt>
                <c:pt idx="302">
                  <c:v>7000000</c:v>
                </c:pt>
                <c:pt idx="303">
                  <c:v>7000000</c:v>
                </c:pt>
                <c:pt idx="304">
                  <c:v>7000000</c:v>
                </c:pt>
                <c:pt idx="305">
                  <c:v>7000000</c:v>
                </c:pt>
                <c:pt idx="329">
                  <c:v>7000000</c:v>
                </c:pt>
                <c:pt idx="330">
                  <c:v>7000000</c:v>
                </c:pt>
                <c:pt idx="331">
                  <c:v>7000000</c:v>
                </c:pt>
                <c:pt idx="332">
                  <c:v>7000000</c:v>
                </c:pt>
                <c:pt idx="333">
                  <c:v>7000000</c:v>
                </c:pt>
                <c:pt idx="334">
                  <c:v>7000000</c:v>
                </c:pt>
                <c:pt idx="335">
                  <c:v>7000000</c:v>
                </c:pt>
                <c:pt idx="336">
                  <c:v>7000000</c:v>
                </c:pt>
                <c:pt idx="337">
                  <c:v>7000000</c:v>
                </c:pt>
                <c:pt idx="338">
                  <c:v>7000000</c:v>
                </c:pt>
                <c:pt idx="339">
                  <c:v>7000000</c:v>
                </c:pt>
                <c:pt idx="340">
                  <c:v>7000000</c:v>
                </c:pt>
                <c:pt idx="341">
                  <c:v>7000000</c:v>
                </c:pt>
                <c:pt idx="342">
                  <c:v>7000000</c:v>
                </c:pt>
                <c:pt idx="343">
                  <c:v>7000000</c:v>
                </c:pt>
                <c:pt idx="344">
                  <c:v>7000000</c:v>
                </c:pt>
                <c:pt idx="345">
                  <c:v>7000000</c:v>
                </c:pt>
                <c:pt idx="346">
                  <c:v>7000000</c:v>
                </c:pt>
                <c:pt idx="347">
                  <c:v>7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76-49E0-AC3A-916D1FB125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883916480"/>
        <c:axId val="883917136"/>
      </c:barChart>
      <c:lineChart>
        <c:grouping val="standard"/>
        <c:varyColors val="0"/>
        <c:ser>
          <c:idx val="0"/>
          <c:order val="0"/>
          <c:tx>
            <c:strRef>
              <c:f>'m3 kausi'!$B$4</c:f>
              <c:strCache>
                <c:ptCount val="1"/>
                <c:pt idx="0">
                  <c:v>Aloitukset (sa.)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m3 kausi'!$A$5:$A$352</c:f>
              <c:numCache>
                <c:formatCode>m/d/yyyy</c:formatCode>
                <c:ptCount val="348"/>
                <c:pt idx="0">
                  <c:v>34700</c:v>
                </c:pt>
                <c:pt idx="1">
                  <c:v>34731</c:v>
                </c:pt>
                <c:pt idx="2">
                  <c:v>34759</c:v>
                </c:pt>
                <c:pt idx="3">
                  <c:v>34790</c:v>
                </c:pt>
                <c:pt idx="4">
                  <c:v>34820</c:v>
                </c:pt>
                <c:pt idx="5">
                  <c:v>34851</c:v>
                </c:pt>
                <c:pt idx="6">
                  <c:v>34881</c:v>
                </c:pt>
                <c:pt idx="7">
                  <c:v>34912</c:v>
                </c:pt>
                <c:pt idx="8">
                  <c:v>34943</c:v>
                </c:pt>
                <c:pt idx="9">
                  <c:v>34973</c:v>
                </c:pt>
                <c:pt idx="10">
                  <c:v>35004</c:v>
                </c:pt>
                <c:pt idx="11">
                  <c:v>35034</c:v>
                </c:pt>
                <c:pt idx="12">
                  <c:v>35065</c:v>
                </c:pt>
                <c:pt idx="13">
                  <c:v>35096</c:v>
                </c:pt>
                <c:pt idx="14">
                  <c:v>35125</c:v>
                </c:pt>
                <c:pt idx="15">
                  <c:v>35156</c:v>
                </c:pt>
                <c:pt idx="16">
                  <c:v>35186</c:v>
                </c:pt>
                <c:pt idx="17">
                  <c:v>35217</c:v>
                </c:pt>
                <c:pt idx="18">
                  <c:v>35247</c:v>
                </c:pt>
                <c:pt idx="19">
                  <c:v>35278</c:v>
                </c:pt>
                <c:pt idx="20">
                  <c:v>35309</c:v>
                </c:pt>
                <c:pt idx="21">
                  <c:v>35339</c:v>
                </c:pt>
                <c:pt idx="22">
                  <c:v>35370</c:v>
                </c:pt>
                <c:pt idx="23">
                  <c:v>35400</c:v>
                </c:pt>
                <c:pt idx="24">
                  <c:v>35431</c:v>
                </c:pt>
                <c:pt idx="25">
                  <c:v>35462</c:v>
                </c:pt>
                <c:pt idx="26">
                  <c:v>35490</c:v>
                </c:pt>
                <c:pt idx="27">
                  <c:v>35521</c:v>
                </c:pt>
                <c:pt idx="28">
                  <c:v>35551</c:v>
                </c:pt>
                <c:pt idx="29">
                  <c:v>35582</c:v>
                </c:pt>
                <c:pt idx="30">
                  <c:v>35612</c:v>
                </c:pt>
                <c:pt idx="31">
                  <c:v>35643</c:v>
                </c:pt>
                <c:pt idx="32">
                  <c:v>35674</c:v>
                </c:pt>
                <c:pt idx="33">
                  <c:v>35704</c:v>
                </c:pt>
                <c:pt idx="34">
                  <c:v>35735</c:v>
                </c:pt>
                <c:pt idx="35">
                  <c:v>35765</c:v>
                </c:pt>
                <c:pt idx="36">
                  <c:v>35796</c:v>
                </c:pt>
                <c:pt idx="37">
                  <c:v>35827</c:v>
                </c:pt>
                <c:pt idx="38">
                  <c:v>35855</c:v>
                </c:pt>
                <c:pt idx="39">
                  <c:v>35886</c:v>
                </c:pt>
                <c:pt idx="40">
                  <c:v>35916</c:v>
                </c:pt>
                <c:pt idx="41">
                  <c:v>35947</c:v>
                </c:pt>
                <c:pt idx="42">
                  <c:v>35977</c:v>
                </c:pt>
                <c:pt idx="43">
                  <c:v>36008</c:v>
                </c:pt>
                <c:pt idx="44">
                  <c:v>36039</c:v>
                </c:pt>
                <c:pt idx="45">
                  <c:v>36069</c:v>
                </c:pt>
                <c:pt idx="46">
                  <c:v>36100</c:v>
                </c:pt>
                <c:pt idx="47">
                  <c:v>36130</c:v>
                </c:pt>
                <c:pt idx="48">
                  <c:v>36161</c:v>
                </c:pt>
                <c:pt idx="49">
                  <c:v>36192</c:v>
                </c:pt>
                <c:pt idx="50">
                  <c:v>36220</c:v>
                </c:pt>
                <c:pt idx="51">
                  <c:v>36251</c:v>
                </c:pt>
                <c:pt idx="52">
                  <c:v>36281</c:v>
                </c:pt>
                <c:pt idx="53">
                  <c:v>36312</c:v>
                </c:pt>
                <c:pt idx="54">
                  <c:v>36342</c:v>
                </c:pt>
                <c:pt idx="55">
                  <c:v>36373</c:v>
                </c:pt>
                <c:pt idx="56">
                  <c:v>36404</c:v>
                </c:pt>
                <c:pt idx="57">
                  <c:v>36434</c:v>
                </c:pt>
                <c:pt idx="58">
                  <c:v>36465</c:v>
                </c:pt>
                <c:pt idx="59">
                  <c:v>36495</c:v>
                </c:pt>
                <c:pt idx="60">
                  <c:v>36526</c:v>
                </c:pt>
                <c:pt idx="61">
                  <c:v>36557</c:v>
                </c:pt>
                <c:pt idx="62">
                  <c:v>36586</c:v>
                </c:pt>
                <c:pt idx="63">
                  <c:v>36617</c:v>
                </c:pt>
                <c:pt idx="64">
                  <c:v>36647</c:v>
                </c:pt>
                <c:pt idx="65">
                  <c:v>36678</c:v>
                </c:pt>
                <c:pt idx="66">
                  <c:v>36708</c:v>
                </c:pt>
                <c:pt idx="67">
                  <c:v>36739</c:v>
                </c:pt>
                <c:pt idx="68">
                  <c:v>36770</c:v>
                </c:pt>
                <c:pt idx="69">
                  <c:v>36800</c:v>
                </c:pt>
                <c:pt idx="70">
                  <c:v>36831</c:v>
                </c:pt>
                <c:pt idx="71">
                  <c:v>36861</c:v>
                </c:pt>
                <c:pt idx="72">
                  <c:v>36892</c:v>
                </c:pt>
                <c:pt idx="73">
                  <c:v>36923</c:v>
                </c:pt>
                <c:pt idx="74">
                  <c:v>36951</c:v>
                </c:pt>
                <c:pt idx="75">
                  <c:v>36982</c:v>
                </c:pt>
                <c:pt idx="76">
                  <c:v>37012</c:v>
                </c:pt>
                <c:pt idx="77">
                  <c:v>37043</c:v>
                </c:pt>
                <c:pt idx="78">
                  <c:v>37073</c:v>
                </c:pt>
                <c:pt idx="79">
                  <c:v>37104</c:v>
                </c:pt>
                <c:pt idx="80">
                  <c:v>37135</c:v>
                </c:pt>
                <c:pt idx="81">
                  <c:v>37165</c:v>
                </c:pt>
                <c:pt idx="82">
                  <c:v>37196</c:v>
                </c:pt>
                <c:pt idx="83">
                  <c:v>37226</c:v>
                </c:pt>
                <c:pt idx="84">
                  <c:v>37257</c:v>
                </c:pt>
                <c:pt idx="85">
                  <c:v>37288</c:v>
                </c:pt>
                <c:pt idx="86">
                  <c:v>37316</c:v>
                </c:pt>
                <c:pt idx="87">
                  <c:v>37347</c:v>
                </c:pt>
                <c:pt idx="88">
                  <c:v>37377</c:v>
                </c:pt>
                <c:pt idx="89">
                  <c:v>37408</c:v>
                </c:pt>
                <c:pt idx="90">
                  <c:v>37438</c:v>
                </c:pt>
                <c:pt idx="91">
                  <c:v>37469</c:v>
                </c:pt>
                <c:pt idx="92">
                  <c:v>37500</c:v>
                </c:pt>
                <c:pt idx="93">
                  <c:v>37530</c:v>
                </c:pt>
                <c:pt idx="94">
                  <c:v>37561</c:v>
                </c:pt>
                <c:pt idx="95">
                  <c:v>37591</c:v>
                </c:pt>
                <c:pt idx="96">
                  <c:v>37622</c:v>
                </c:pt>
                <c:pt idx="97">
                  <c:v>37653</c:v>
                </c:pt>
                <c:pt idx="98">
                  <c:v>37681</c:v>
                </c:pt>
                <c:pt idx="99">
                  <c:v>37712</c:v>
                </c:pt>
                <c:pt idx="100">
                  <c:v>37742</c:v>
                </c:pt>
                <c:pt idx="101">
                  <c:v>37773</c:v>
                </c:pt>
                <c:pt idx="102">
                  <c:v>37803</c:v>
                </c:pt>
                <c:pt idx="103">
                  <c:v>37834</c:v>
                </c:pt>
                <c:pt idx="104">
                  <c:v>37865</c:v>
                </c:pt>
                <c:pt idx="105">
                  <c:v>37895</c:v>
                </c:pt>
                <c:pt idx="106">
                  <c:v>37926</c:v>
                </c:pt>
                <c:pt idx="107">
                  <c:v>37956</c:v>
                </c:pt>
                <c:pt idx="108">
                  <c:v>37987</c:v>
                </c:pt>
                <c:pt idx="109">
                  <c:v>38018</c:v>
                </c:pt>
                <c:pt idx="110">
                  <c:v>38047</c:v>
                </c:pt>
                <c:pt idx="111">
                  <c:v>38078</c:v>
                </c:pt>
                <c:pt idx="112">
                  <c:v>38108</c:v>
                </c:pt>
                <c:pt idx="113">
                  <c:v>38139</c:v>
                </c:pt>
                <c:pt idx="114">
                  <c:v>38169</c:v>
                </c:pt>
                <c:pt idx="115">
                  <c:v>38200</c:v>
                </c:pt>
                <c:pt idx="116">
                  <c:v>38231</c:v>
                </c:pt>
                <c:pt idx="117">
                  <c:v>38261</c:v>
                </c:pt>
                <c:pt idx="118">
                  <c:v>38292</c:v>
                </c:pt>
                <c:pt idx="119">
                  <c:v>38322</c:v>
                </c:pt>
                <c:pt idx="120">
                  <c:v>38353</c:v>
                </c:pt>
                <c:pt idx="121">
                  <c:v>38384</c:v>
                </c:pt>
                <c:pt idx="122">
                  <c:v>38412</c:v>
                </c:pt>
                <c:pt idx="123">
                  <c:v>38443</c:v>
                </c:pt>
                <c:pt idx="124">
                  <c:v>38473</c:v>
                </c:pt>
                <c:pt idx="125">
                  <c:v>38504</c:v>
                </c:pt>
                <c:pt idx="126">
                  <c:v>38534</c:v>
                </c:pt>
                <c:pt idx="127">
                  <c:v>38565</c:v>
                </c:pt>
                <c:pt idx="128">
                  <c:v>38596</c:v>
                </c:pt>
                <c:pt idx="129">
                  <c:v>38626</c:v>
                </c:pt>
                <c:pt idx="130">
                  <c:v>38657</c:v>
                </c:pt>
                <c:pt idx="131">
                  <c:v>38687</c:v>
                </c:pt>
                <c:pt idx="132">
                  <c:v>38718</c:v>
                </c:pt>
                <c:pt idx="133">
                  <c:v>38749</c:v>
                </c:pt>
                <c:pt idx="134">
                  <c:v>38777</c:v>
                </c:pt>
                <c:pt idx="135">
                  <c:v>38808</c:v>
                </c:pt>
                <c:pt idx="136">
                  <c:v>38838</c:v>
                </c:pt>
                <c:pt idx="137">
                  <c:v>38869</c:v>
                </c:pt>
                <c:pt idx="138">
                  <c:v>38899</c:v>
                </c:pt>
                <c:pt idx="139">
                  <c:v>38930</c:v>
                </c:pt>
                <c:pt idx="140">
                  <c:v>38961</c:v>
                </c:pt>
                <c:pt idx="141">
                  <c:v>38991</c:v>
                </c:pt>
                <c:pt idx="142">
                  <c:v>39022</c:v>
                </c:pt>
                <c:pt idx="143">
                  <c:v>39052</c:v>
                </c:pt>
                <c:pt idx="144">
                  <c:v>39083</c:v>
                </c:pt>
                <c:pt idx="145">
                  <c:v>39114</c:v>
                </c:pt>
                <c:pt idx="146">
                  <c:v>39142</c:v>
                </c:pt>
                <c:pt idx="147">
                  <c:v>39173</c:v>
                </c:pt>
                <c:pt idx="148">
                  <c:v>39203</c:v>
                </c:pt>
                <c:pt idx="149">
                  <c:v>39234</c:v>
                </c:pt>
                <c:pt idx="150">
                  <c:v>39264</c:v>
                </c:pt>
                <c:pt idx="151">
                  <c:v>39295</c:v>
                </c:pt>
                <c:pt idx="152">
                  <c:v>39326</c:v>
                </c:pt>
                <c:pt idx="153">
                  <c:v>39356</c:v>
                </c:pt>
                <c:pt idx="154">
                  <c:v>39387</c:v>
                </c:pt>
                <c:pt idx="155">
                  <c:v>39417</c:v>
                </c:pt>
                <c:pt idx="156">
                  <c:v>39448</c:v>
                </c:pt>
                <c:pt idx="157">
                  <c:v>39479</c:v>
                </c:pt>
                <c:pt idx="158">
                  <c:v>39508</c:v>
                </c:pt>
                <c:pt idx="159">
                  <c:v>39539</c:v>
                </c:pt>
                <c:pt idx="160">
                  <c:v>39569</c:v>
                </c:pt>
                <c:pt idx="161">
                  <c:v>39600</c:v>
                </c:pt>
                <c:pt idx="162">
                  <c:v>39630</c:v>
                </c:pt>
                <c:pt idx="163">
                  <c:v>39661</c:v>
                </c:pt>
                <c:pt idx="164">
                  <c:v>39692</c:v>
                </c:pt>
                <c:pt idx="165">
                  <c:v>39722</c:v>
                </c:pt>
                <c:pt idx="166">
                  <c:v>39753</c:v>
                </c:pt>
                <c:pt idx="167">
                  <c:v>39783</c:v>
                </c:pt>
                <c:pt idx="168">
                  <c:v>39814</c:v>
                </c:pt>
                <c:pt idx="169">
                  <c:v>39845</c:v>
                </c:pt>
                <c:pt idx="170">
                  <c:v>39873</c:v>
                </c:pt>
                <c:pt idx="171">
                  <c:v>39904</c:v>
                </c:pt>
                <c:pt idx="172">
                  <c:v>39934</c:v>
                </c:pt>
                <c:pt idx="173">
                  <c:v>39965</c:v>
                </c:pt>
                <c:pt idx="174">
                  <c:v>39995</c:v>
                </c:pt>
                <c:pt idx="175">
                  <c:v>40026</c:v>
                </c:pt>
                <c:pt idx="176">
                  <c:v>40057</c:v>
                </c:pt>
                <c:pt idx="177">
                  <c:v>40087</c:v>
                </c:pt>
                <c:pt idx="178">
                  <c:v>40118</c:v>
                </c:pt>
                <c:pt idx="179">
                  <c:v>40148</c:v>
                </c:pt>
                <c:pt idx="180">
                  <c:v>40179</c:v>
                </c:pt>
                <c:pt idx="181">
                  <c:v>40210</c:v>
                </c:pt>
                <c:pt idx="182">
                  <c:v>40238</c:v>
                </c:pt>
                <c:pt idx="183">
                  <c:v>40269</c:v>
                </c:pt>
                <c:pt idx="184">
                  <c:v>40299</c:v>
                </c:pt>
                <c:pt idx="185">
                  <c:v>40330</c:v>
                </c:pt>
                <c:pt idx="186">
                  <c:v>40360</c:v>
                </c:pt>
                <c:pt idx="187">
                  <c:v>40391</c:v>
                </c:pt>
                <c:pt idx="188">
                  <c:v>40422</c:v>
                </c:pt>
                <c:pt idx="189">
                  <c:v>40452</c:v>
                </c:pt>
                <c:pt idx="190">
                  <c:v>40483</c:v>
                </c:pt>
                <c:pt idx="191">
                  <c:v>40513</c:v>
                </c:pt>
                <c:pt idx="192">
                  <c:v>40544</c:v>
                </c:pt>
                <c:pt idx="193">
                  <c:v>40575</c:v>
                </c:pt>
                <c:pt idx="194">
                  <c:v>40603</c:v>
                </c:pt>
                <c:pt idx="195">
                  <c:v>40634</c:v>
                </c:pt>
                <c:pt idx="196">
                  <c:v>40664</c:v>
                </c:pt>
                <c:pt idx="197">
                  <c:v>40695</c:v>
                </c:pt>
                <c:pt idx="198">
                  <c:v>40725</c:v>
                </c:pt>
                <c:pt idx="199">
                  <c:v>40756</c:v>
                </c:pt>
                <c:pt idx="200">
                  <c:v>40787</c:v>
                </c:pt>
                <c:pt idx="201">
                  <c:v>40817</c:v>
                </c:pt>
                <c:pt idx="202">
                  <c:v>40848</c:v>
                </c:pt>
                <c:pt idx="203">
                  <c:v>40878</c:v>
                </c:pt>
                <c:pt idx="204">
                  <c:v>40909</c:v>
                </c:pt>
                <c:pt idx="205">
                  <c:v>40940</c:v>
                </c:pt>
                <c:pt idx="206">
                  <c:v>40969</c:v>
                </c:pt>
                <c:pt idx="207">
                  <c:v>41000</c:v>
                </c:pt>
                <c:pt idx="208">
                  <c:v>41030</c:v>
                </c:pt>
                <c:pt idx="209">
                  <c:v>41061</c:v>
                </c:pt>
                <c:pt idx="210">
                  <c:v>41091</c:v>
                </c:pt>
                <c:pt idx="211">
                  <c:v>41122</c:v>
                </c:pt>
                <c:pt idx="212">
                  <c:v>41153</c:v>
                </c:pt>
                <c:pt idx="213">
                  <c:v>41183</c:v>
                </c:pt>
                <c:pt idx="214">
                  <c:v>41214</c:v>
                </c:pt>
                <c:pt idx="215">
                  <c:v>41244</c:v>
                </c:pt>
                <c:pt idx="216">
                  <c:v>41275</c:v>
                </c:pt>
                <c:pt idx="217">
                  <c:v>41306</c:v>
                </c:pt>
                <c:pt idx="218">
                  <c:v>41334</c:v>
                </c:pt>
                <c:pt idx="219">
                  <c:v>41365</c:v>
                </c:pt>
                <c:pt idx="220">
                  <c:v>41395</c:v>
                </c:pt>
                <c:pt idx="221">
                  <c:v>41426</c:v>
                </c:pt>
                <c:pt idx="222">
                  <c:v>41456</c:v>
                </c:pt>
                <c:pt idx="223">
                  <c:v>41487</c:v>
                </c:pt>
                <c:pt idx="224">
                  <c:v>41518</c:v>
                </c:pt>
                <c:pt idx="225">
                  <c:v>41548</c:v>
                </c:pt>
                <c:pt idx="226">
                  <c:v>41579</c:v>
                </c:pt>
                <c:pt idx="227">
                  <c:v>41609</c:v>
                </c:pt>
                <c:pt idx="228">
                  <c:v>41640</c:v>
                </c:pt>
                <c:pt idx="229">
                  <c:v>41671</c:v>
                </c:pt>
                <c:pt idx="230">
                  <c:v>41699</c:v>
                </c:pt>
                <c:pt idx="231">
                  <c:v>41730</c:v>
                </c:pt>
                <c:pt idx="232">
                  <c:v>41760</c:v>
                </c:pt>
                <c:pt idx="233">
                  <c:v>41791</c:v>
                </c:pt>
                <c:pt idx="234">
                  <c:v>41821</c:v>
                </c:pt>
                <c:pt idx="235">
                  <c:v>41852</c:v>
                </c:pt>
                <c:pt idx="236">
                  <c:v>41883</c:v>
                </c:pt>
                <c:pt idx="237">
                  <c:v>41913</c:v>
                </c:pt>
                <c:pt idx="238">
                  <c:v>41944</c:v>
                </c:pt>
                <c:pt idx="239">
                  <c:v>41974</c:v>
                </c:pt>
                <c:pt idx="240">
                  <c:v>42005</c:v>
                </c:pt>
                <c:pt idx="241">
                  <c:v>42036</c:v>
                </c:pt>
                <c:pt idx="242">
                  <c:v>42064</c:v>
                </c:pt>
                <c:pt idx="243">
                  <c:v>42095</c:v>
                </c:pt>
                <c:pt idx="244">
                  <c:v>42125</c:v>
                </c:pt>
                <c:pt idx="245">
                  <c:v>42156</c:v>
                </c:pt>
                <c:pt idx="246">
                  <c:v>42186</c:v>
                </c:pt>
                <c:pt idx="247">
                  <c:v>42217</c:v>
                </c:pt>
                <c:pt idx="248">
                  <c:v>42248</c:v>
                </c:pt>
                <c:pt idx="249">
                  <c:v>42278</c:v>
                </c:pt>
                <c:pt idx="250">
                  <c:v>42309</c:v>
                </c:pt>
                <c:pt idx="251">
                  <c:v>42339</c:v>
                </c:pt>
                <c:pt idx="252">
                  <c:v>42370</c:v>
                </c:pt>
                <c:pt idx="253">
                  <c:v>42401</c:v>
                </c:pt>
                <c:pt idx="254">
                  <c:v>42430</c:v>
                </c:pt>
                <c:pt idx="255">
                  <c:v>42461</c:v>
                </c:pt>
                <c:pt idx="256">
                  <c:v>42491</c:v>
                </c:pt>
                <c:pt idx="257">
                  <c:v>42522</c:v>
                </c:pt>
                <c:pt idx="258">
                  <c:v>42552</c:v>
                </c:pt>
                <c:pt idx="259">
                  <c:v>42583</c:v>
                </c:pt>
                <c:pt idx="260">
                  <c:v>42614</c:v>
                </c:pt>
                <c:pt idx="261">
                  <c:v>42644</c:v>
                </c:pt>
                <c:pt idx="262">
                  <c:v>42675</c:v>
                </c:pt>
                <c:pt idx="263">
                  <c:v>42705</c:v>
                </c:pt>
                <c:pt idx="264">
                  <c:v>42736</c:v>
                </c:pt>
                <c:pt idx="265">
                  <c:v>42767</c:v>
                </c:pt>
                <c:pt idx="266">
                  <c:v>42795</c:v>
                </c:pt>
                <c:pt idx="267">
                  <c:v>42826</c:v>
                </c:pt>
                <c:pt idx="268">
                  <c:v>42856</c:v>
                </c:pt>
                <c:pt idx="269">
                  <c:v>42887</c:v>
                </c:pt>
                <c:pt idx="270">
                  <c:v>42917</c:v>
                </c:pt>
                <c:pt idx="271">
                  <c:v>42948</c:v>
                </c:pt>
                <c:pt idx="272">
                  <c:v>42979</c:v>
                </c:pt>
                <c:pt idx="273">
                  <c:v>43009</c:v>
                </c:pt>
                <c:pt idx="274">
                  <c:v>43040</c:v>
                </c:pt>
                <c:pt idx="275">
                  <c:v>43070</c:v>
                </c:pt>
                <c:pt idx="276">
                  <c:v>43101</c:v>
                </c:pt>
                <c:pt idx="277">
                  <c:v>43132</c:v>
                </c:pt>
                <c:pt idx="278">
                  <c:v>43160</c:v>
                </c:pt>
                <c:pt idx="279">
                  <c:v>43191</c:v>
                </c:pt>
                <c:pt idx="280">
                  <c:v>43221</c:v>
                </c:pt>
                <c:pt idx="281">
                  <c:v>43252</c:v>
                </c:pt>
                <c:pt idx="282">
                  <c:v>43282</c:v>
                </c:pt>
                <c:pt idx="283">
                  <c:v>43313</c:v>
                </c:pt>
                <c:pt idx="284">
                  <c:v>43344</c:v>
                </c:pt>
                <c:pt idx="285">
                  <c:v>43374</c:v>
                </c:pt>
                <c:pt idx="286">
                  <c:v>43405</c:v>
                </c:pt>
                <c:pt idx="287">
                  <c:v>43435</c:v>
                </c:pt>
                <c:pt idx="288">
                  <c:v>43466</c:v>
                </c:pt>
                <c:pt idx="289">
                  <c:v>43497</c:v>
                </c:pt>
                <c:pt idx="290">
                  <c:v>43525</c:v>
                </c:pt>
                <c:pt idx="291">
                  <c:v>43556</c:v>
                </c:pt>
                <c:pt idx="292">
                  <c:v>43586</c:v>
                </c:pt>
                <c:pt idx="293">
                  <c:v>43617</c:v>
                </c:pt>
                <c:pt idx="294">
                  <c:v>43647</c:v>
                </c:pt>
                <c:pt idx="295">
                  <c:v>43678</c:v>
                </c:pt>
                <c:pt idx="296">
                  <c:v>43709</c:v>
                </c:pt>
                <c:pt idx="297">
                  <c:v>43739</c:v>
                </c:pt>
                <c:pt idx="298">
                  <c:v>43770</c:v>
                </c:pt>
                <c:pt idx="299">
                  <c:v>43800</c:v>
                </c:pt>
                <c:pt idx="300">
                  <c:v>43831</c:v>
                </c:pt>
                <c:pt idx="301">
                  <c:v>43862</c:v>
                </c:pt>
                <c:pt idx="302">
                  <c:v>43891</c:v>
                </c:pt>
                <c:pt idx="303">
                  <c:v>43922</c:v>
                </c:pt>
                <c:pt idx="304">
                  <c:v>43952</c:v>
                </c:pt>
                <c:pt idx="305">
                  <c:v>43983</c:v>
                </c:pt>
                <c:pt idx="306">
                  <c:v>44013</c:v>
                </c:pt>
                <c:pt idx="307">
                  <c:v>44044</c:v>
                </c:pt>
                <c:pt idx="308">
                  <c:v>44075</c:v>
                </c:pt>
                <c:pt idx="309">
                  <c:v>44105</c:v>
                </c:pt>
                <c:pt idx="310">
                  <c:v>44136</c:v>
                </c:pt>
                <c:pt idx="311">
                  <c:v>44166</c:v>
                </c:pt>
                <c:pt idx="312">
                  <c:v>44197</c:v>
                </c:pt>
                <c:pt idx="313">
                  <c:v>44228</c:v>
                </c:pt>
                <c:pt idx="314">
                  <c:v>44256</c:v>
                </c:pt>
                <c:pt idx="315">
                  <c:v>44287</c:v>
                </c:pt>
                <c:pt idx="316">
                  <c:v>44317</c:v>
                </c:pt>
                <c:pt idx="317">
                  <c:v>44348</c:v>
                </c:pt>
                <c:pt idx="318">
                  <c:v>44378</c:v>
                </c:pt>
                <c:pt idx="319">
                  <c:v>44409</c:v>
                </c:pt>
                <c:pt idx="320">
                  <c:v>44440</c:v>
                </c:pt>
                <c:pt idx="321">
                  <c:v>44470</c:v>
                </c:pt>
                <c:pt idx="322">
                  <c:v>44501</c:v>
                </c:pt>
                <c:pt idx="323">
                  <c:v>44531</c:v>
                </c:pt>
                <c:pt idx="324">
                  <c:v>44562</c:v>
                </c:pt>
                <c:pt idx="325">
                  <c:v>44593</c:v>
                </c:pt>
                <c:pt idx="326">
                  <c:v>44621</c:v>
                </c:pt>
                <c:pt idx="327">
                  <c:v>44652</c:v>
                </c:pt>
                <c:pt idx="328">
                  <c:v>44682</c:v>
                </c:pt>
                <c:pt idx="329">
                  <c:v>44713</c:v>
                </c:pt>
                <c:pt idx="330">
                  <c:v>44743</c:v>
                </c:pt>
                <c:pt idx="331">
                  <c:v>44774</c:v>
                </c:pt>
                <c:pt idx="332">
                  <c:v>44805</c:v>
                </c:pt>
                <c:pt idx="333">
                  <c:v>44835</c:v>
                </c:pt>
                <c:pt idx="334">
                  <c:v>44866</c:v>
                </c:pt>
                <c:pt idx="335">
                  <c:v>44896</c:v>
                </c:pt>
                <c:pt idx="336">
                  <c:v>44927</c:v>
                </c:pt>
                <c:pt idx="337">
                  <c:v>44958</c:v>
                </c:pt>
                <c:pt idx="338">
                  <c:v>44986</c:v>
                </c:pt>
                <c:pt idx="339">
                  <c:v>45017</c:v>
                </c:pt>
                <c:pt idx="340">
                  <c:v>45047</c:v>
                </c:pt>
                <c:pt idx="341">
                  <c:v>45078</c:v>
                </c:pt>
                <c:pt idx="342">
                  <c:v>45108</c:v>
                </c:pt>
                <c:pt idx="343">
                  <c:v>45139</c:v>
                </c:pt>
                <c:pt idx="344">
                  <c:v>45170</c:v>
                </c:pt>
                <c:pt idx="345">
                  <c:v>45200</c:v>
                </c:pt>
                <c:pt idx="346">
                  <c:v>45231</c:v>
                </c:pt>
                <c:pt idx="347">
                  <c:v>45261</c:v>
                </c:pt>
              </c:numCache>
            </c:numRef>
          </c:cat>
          <c:val>
            <c:numRef>
              <c:f>'m3 kausi'!$B$5:$B$352</c:f>
              <c:numCache>
                <c:formatCode>General</c:formatCode>
                <c:ptCount val="348"/>
                <c:pt idx="0">
                  <c:v>4241221.2939107297</c:v>
                </c:pt>
                <c:pt idx="1">
                  <c:v>1920756.6017622</c:v>
                </c:pt>
                <c:pt idx="2">
                  <c:v>2057594.63147602</c:v>
                </c:pt>
                <c:pt idx="3">
                  <c:v>1690663.1891347801</c:v>
                </c:pt>
                <c:pt idx="4">
                  <c:v>2112983.8496960099</c:v>
                </c:pt>
                <c:pt idx="5">
                  <c:v>2032601.24247558</c:v>
                </c:pt>
                <c:pt idx="6">
                  <c:v>1823435.18819326</c:v>
                </c:pt>
                <c:pt idx="7">
                  <c:v>2146410.3324454199</c:v>
                </c:pt>
                <c:pt idx="8">
                  <c:v>1763513.01772583</c:v>
                </c:pt>
                <c:pt idx="9">
                  <c:v>2116793.8015631698</c:v>
                </c:pt>
                <c:pt idx="10">
                  <c:v>2633381.9975761599</c:v>
                </c:pt>
                <c:pt idx="11">
                  <c:v>1915835.4376721401</c:v>
                </c:pt>
                <c:pt idx="12">
                  <c:v>2056588.7140237</c:v>
                </c:pt>
                <c:pt idx="13">
                  <c:v>2612775.83171213</c:v>
                </c:pt>
                <c:pt idx="14">
                  <c:v>2076033.8299016601</c:v>
                </c:pt>
                <c:pt idx="15">
                  <c:v>2390456.24378963</c:v>
                </c:pt>
                <c:pt idx="16">
                  <c:v>2055203.0417563899</c:v>
                </c:pt>
                <c:pt idx="17">
                  <c:v>2670580.7184053198</c:v>
                </c:pt>
                <c:pt idx="18">
                  <c:v>3101766.0268227402</c:v>
                </c:pt>
                <c:pt idx="19">
                  <c:v>2214990.0802854099</c:v>
                </c:pt>
                <c:pt idx="20">
                  <c:v>2612566.8124597301</c:v>
                </c:pt>
                <c:pt idx="21">
                  <c:v>2414401.5278391899</c:v>
                </c:pt>
                <c:pt idx="22">
                  <c:v>2100797.9363629199</c:v>
                </c:pt>
                <c:pt idx="23">
                  <c:v>2858817.7107882998</c:v>
                </c:pt>
                <c:pt idx="24">
                  <c:v>2232454.120133</c:v>
                </c:pt>
                <c:pt idx="25">
                  <c:v>1892903.43345107</c:v>
                </c:pt>
                <c:pt idx="26">
                  <c:v>2663196.7020922699</c:v>
                </c:pt>
                <c:pt idx="27">
                  <c:v>2997753.9883411899</c:v>
                </c:pt>
                <c:pt idx="28">
                  <c:v>2714673.3932110001</c:v>
                </c:pt>
                <c:pt idx="29">
                  <c:v>2773003.6104184999</c:v>
                </c:pt>
                <c:pt idx="30">
                  <c:v>3001458.98122421</c:v>
                </c:pt>
                <c:pt idx="31">
                  <c:v>2908551.4933818602</c:v>
                </c:pt>
                <c:pt idx="32">
                  <c:v>2886320.78771633</c:v>
                </c:pt>
                <c:pt idx="33">
                  <c:v>2882786.7233967101</c:v>
                </c:pt>
                <c:pt idx="34">
                  <c:v>3091977.4197829999</c:v>
                </c:pt>
                <c:pt idx="35">
                  <c:v>2863327.1720174202</c:v>
                </c:pt>
                <c:pt idx="36">
                  <c:v>3789151.3805050198</c:v>
                </c:pt>
                <c:pt idx="37">
                  <c:v>3817103.46856067</c:v>
                </c:pt>
                <c:pt idx="38">
                  <c:v>2702171.45745392</c:v>
                </c:pt>
                <c:pt idx="39">
                  <c:v>2892254.1339611802</c:v>
                </c:pt>
                <c:pt idx="40">
                  <c:v>3363676.2607808602</c:v>
                </c:pt>
                <c:pt idx="41">
                  <c:v>3353844.8151315101</c:v>
                </c:pt>
                <c:pt idx="42">
                  <c:v>3237432.4718421199</c:v>
                </c:pt>
                <c:pt idx="43">
                  <c:v>3546230.59366873</c:v>
                </c:pt>
                <c:pt idx="44">
                  <c:v>3662053.3393119699</c:v>
                </c:pt>
                <c:pt idx="45">
                  <c:v>3391406.6615767898</c:v>
                </c:pt>
                <c:pt idx="46">
                  <c:v>2984622.1852780399</c:v>
                </c:pt>
                <c:pt idx="47">
                  <c:v>3030516.8529992802</c:v>
                </c:pt>
                <c:pt idx="48">
                  <c:v>3076464.1584517201</c:v>
                </c:pt>
                <c:pt idx="49">
                  <c:v>2621994.0515938699</c:v>
                </c:pt>
                <c:pt idx="50">
                  <c:v>3331822.3128742599</c:v>
                </c:pt>
                <c:pt idx="51">
                  <c:v>2888949.7069783402</c:v>
                </c:pt>
                <c:pt idx="52">
                  <c:v>3401960.5122142201</c:v>
                </c:pt>
                <c:pt idx="53">
                  <c:v>3310529.8138266201</c:v>
                </c:pt>
                <c:pt idx="54">
                  <c:v>3761870.8934956398</c:v>
                </c:pt>
                <c:pt idx="55">
                  <c:v>3592890.0225071898</c:v>
                </c:pt>
                <c:pt idx="56">
                  <c:v>3170582.5137196602</c:v>
                </c:pt>
                <c:pt idx="57">
                  <c:v>3275017.77053804</c:v>
                </c:pt>
                <c:pt idx="58">
                  <c:v>3667482.8205794999</c:v>
                </c:pt>
                <c:pt idx="59">
                  <c:v>3634084.3529040501</c:v>
                </c:pt>
                <c:pt idx="60">
                  <c:v>3488137.27058182</c:v>
                </c:pt>
                <c:pt idx="61">
                  <c:v>3977475.0510242898</c:v>
                </c:pt>
                <c:pt idx="62">
                  <c:v>3479576.78152087</c:v>
                </c:pt>
                <c:pt idx="63">
                  <c:v>3981900.9280285798</c:v>
                </c:pt>
                <c:pt idx="64">
                  <c:v>3612577.8237446598</c:v>
                </c:pt>
                <c:pt idx="65">
                  <c:v>3318632.2426190898</c:v>
                </c:pt>
                <c:pt idx="66">
                  <c:v>3332040.13961322</c:v>
                </c:pt>
                <c:pt idx="67">
                  <c:v>3324203.2127691102</c:v>
                </c:pt>
                <c:pt idx="68">
                  <c:v>4152522.5863697198</c:v>
                </c:pt>
                <c:pt idx="69">
                  <c:v>3949594.1244764002</c:v>
                </c:pt>
                <c:pt idx="70">
                  <c:v>3926334.2366221901</c:v>
                </c:pt>
                <c:pt idx="71">
                  <c:v>3676281.9162275</c:v>
                </c:pt>
                <c:pt idx="72">
                  <c:v>4261345.5946193896</c:v>
                </c:pt>
                <c:pt idx="73">
                  <c:v>3352473.0529783899</c:v>
                </c:pt>
                <c:pt idx="74">
                  <c:v>3641035.79155184</c:v>
                </c:pt>
                <c:pt idx="75">
                  <c:v>4388025.37668256</c:v>
                </c:pt>
                <c:pt idx="76">
                  <c:v>3210246.3728275802</c:v>
                </c:pt>
                <c:pt idx="77">
                  <c:v>3350296.0111052999</c:v>
                </c:pt>
                <c:pt idx="78">
                  <c:v>3455194.5929537001</c:v>
                </c:pt>
                <c:pt idx="79">
                  <c:v>3208543.9779601502</c:v>
                </c:pt>
                <c:pt idx="80">
                  <c:v>2752379.8405543598</c:v>
                </c:pt>
                <c:pt idx="81">
                  <c:v>3285484.09129071</c:v>
                </c:pt>
                <c:pt idx="82">
                  <c:v>3325531.9857689799</c:v>
                </c:pt>
                <c:pt idx="83">
                  <c:v>3080071.5936890501</c:v>
                </c:pt>
                <c:pt idx="84">
                  <c:v>2944977.3709072699</c:v>
                </c:pt>
                <c:pt idx="85">
                  <c:v>3382801.8167004199</c:v>
                </c:pt>
                <c:pt idx="86">
                  <c:v>3103617.6483158902</c:v>
                </c:pt>
                <c:pt idx="87">
                  <c:v>3336242.0553347999</c:v>
                </c:pt>
                <c:pt idx="88">
                  <c:v>3171354.0598566299</c:v>
                </c:pt>
                <c:pt idx="89">
                  <c:v>3159473.5969523499</c:v>
                </c:pt>
                <c:pt idx="90">
                  <c:v>3576100.1947582001</c:v>
                </c:pt>
                <c:pt idx="91">
                  <c:v>2951635.3846504898</c:v>
                </c:pt>
                <c:pt idx="92">
                  <c:v>3970627.08685864</c:v>
                </c:pt>
                <c:pt idx="93">
                  <c:v>3340511.28019871</c:v>
                </c:pt>
                <c:pt idx="94">
                  <c:v>2479383.1202897802</c:v>
                </c:pt>
                <c:pt idx="95">
                  <c:v>3073010.9834486102</c:v>
                </c:pt>
                <c:pt idx="96">
                  <c:v>2839467.5000802102</c:v>
                </c:pt>
                <c:pt idx="97">
                  <c:v>3676795.6465423098</c:v>
                </c:pt>
                <c:pt idx="98">
                  <c:v>3346298.82092745</c:v>
                </c:pt>
                <c:pt idx="99">
                  <c:v>3104505.5439360598</c:v>
                </c:pt>
                <c:pt idx="100">
                  <c:v>3451769.4397323499</c:v>
                </c:pt>
                <c:pt idx="101">
                  <c:v>3468640.4737311401</c:v>
                </c:pt>
                <c:pt idx="102">
                  <c:v>3081420.6580540999</c:v>
                </c:pt>
                <c:pt idx="103">
                  <c:v>3172478.8494330398</c:v>
                </c:pt>
                <c:pt idx="104">
                  <c:v>3738366.3722278802</c:v>
                </c:pt>
                <c:pt idx="105">
                  <c:v>3512424.5113285799</c:v>
                </c:pt>
                <c:pt idx="106">
                  <c:v>3295149.9389797798</c:v>
                </c:pt>
                <c:pt idx="107">
                  <c:v>3209592.5704310499</c:v>
                </c:pt>
                <c:pt idx="108">
                  <c:v>3744575.1903743399</c:v>
                </c:pt>
                <c:pt idx="109">
                  <c:v>4474135.5678510098</c:v>
                </c:pt>
                <c:pt idx="110">
                  <c:v>3268251.6007530098</c:v>
                </c:pt>
                <c:pt idx="111">
                  <c:v>2963362.57258701</c:v>
                </c:pt>
                <c:pt idx="112">
                  <c:v>4079789.8818058702</c:v>
                </c:pt>
                <c:pt idx="113">
                  <c:v>3230062.1795294699</c:v>
                </c:pt>
                <c:pt idx="114">
                  <c:v>3689775.28318789</c:v>
                </c:pt>
                <c:pt idx="115">
                  <c:v>4155712.8761094399</c:v>
                </c:pt>
                <c:pt idx="116">
                  <c:v>2826611.43991993</c:v>
                </c:pt>
                <c:pt idx="117">
                  <c:v>3220323.6045816801</c:v>
                </c:pt>
                <c:pt idx="118">
                  <c:v>4208927.8800576096</c:v>
                </c:pt>
                <c:pt idx="119">
                  <c:v>3790197.0518176402</c:v>
                </c:pt>
                <c:pt idx="120">
                  <c:v>2803468.7354494198</c:v>
                </c:pt>
                <c:pt idx="121">
                  <c:v>3825003.1364480299</c:v>
                </c:pt>
                <c:pt idx="122">
                  <c:v>4037081.0494819302</c:v>
                </c:pt>
                <c:pt idx="123">
                  <c:v>4195965.9669238701</c:v>
                </c:pt>
                <c:pt idx="124">
                  <c:v>3956985.16655917</c:v>
                </c:pt>
                <c:pt idx="125">
                  <c:v>4102562.0037362501</c:v>
                </c:pt>
                <c:pt idx="126">
                  <c:v>4004142.0866164998</c:v>
                </c:pt>
                <c:pt idx="127">
                  <c:v>3470932.6580657298</c:v>
                </c:pt>
                <c:pt idx="128">
                  <c:v>4125305.1006919402</c:v>
                </c:pt>
                <c:pt idx="129">
                  <c:v>3752155.61410113</c:v>
                </c:pt>
                <c:pt idx="130">
                  <c:v>3367662.9002048401</c:v>
                </c:pt>
                <c:pt idx="131">
                  <c:v>3058068.98912491</c:v>
                </c:pt>
                <c:pt idx="132">
                  <c:v>4155575.0330945901</c:v>
                </c:pt>
                <c:pt idx="133">
                  <c:v>3032004.57076733</c:v>
                </c:pt>
                <c:pt idx="134">
                  <c:v>4417017.2509520296</c:v>
                </c:pt>
                <c:pt idx="135">
                  <c:v>3450034.3827890698</c:v>
                </c:pt>
                <c:pt idx="136">
                  <c:v>4100383.3607790102</c:v>
                </c:pt>
                <c:pt idx="137">
                  <c:v>4042382.2587566902</c:v>
                </c:pt>
                <c:pt idx="138">
                  <c:v>3574974.2420241102</c:v>
                </c:pt>
                <c:pt idx="139">
                  <c:v>4606361.99442707</c:v>
                </c:pt>
                <c:pt idx="140">
                  <c:v>3789059.8373310301</c:v>
                </c:pt>
                <c:pt idx="141">
                  <c:v>3926884.6077679698</c:v>
                </c:pt>
                <c:pt idx="142">
                  <c:v>4144757.90389896</c:v>
                </c:pt>
                <c:pt idx="143">
                  <c:v>4551135.9669659398</c:v>
                </c:pt>
                <c:pt idx="144">
                  <c:v>4667728.7598026702</c:v>
                </c:pt>
                <c:pt idx="145">
                  <c:v>3771506.9281143602</c:v>
                </c:pt>
                <c:pt idx="146">
                  <c:v>5322849.8973407997</c:v>
                </c:pt>
                <c:pt idx="147">
                  <c:v>5440783.0017074104</c:v>
                </c:pt>
                <c:pt idx="148">
                  <c:v>4172599.6659281501</c:v>
                </c:pt>
                <c:pt idx="149">
                  <c:v>4410018.3267250601</c:v>
                </c:pt>
                <c:pt idx="150">
                  <c:v>4277080.4678194001</c:v>
                </c:pt>
                <c:pt idx="151">
                  <c:v>4676607.4646651503</c:v>
                </c:pt>
                <c:pt idx="152">
                  <c:v>4580970.6674117297</c:v>
                </c:pt>
                <c:pt idx="153">
                  <c:v>5088796.6467966503</c:v>
                </c:pt>
                <c:pt idx="154">
                  <c:v>4272600.0395834297</c:v>
                </c:pt>
                <c:pt idx="155">
                  <c:v>5102407.91089347</c:v>
                </c:pt>
                <c:pt idx="156">
                  <c:v>5665750.9361452702</c:v>
                </c:pt>
                <c:pt idx="157">
                  <c:v>4280394.1903149001</c:v>
                </c:pt>
                <c:pt idx="158">
                  <c:v>3750135.8963954598</c:v>
                </c:pt>
                <c:pt idx="159">
                  <c:v>4079396.08263546</c:v>
                </c:pt>
                <c:pt idx="160">
                  <c:v>3735026.4309332198</c:v>
                </c:pt>
                <c:pt idx="161">
                  <c:v>3695170.9234615299</c:v>
                </c:pt>
                <c:pt idx="162">
                  <c:v>3841354.01799824</c:v>
                </c:pt>
                <c:pt idx="163">
                  <c:v>3929084.3379123202</c:v>
                </c:pt>
                <c:pt idx="164">
                  <c:v>3623643.2930967198</c:v>
                </c:pt>
                <c:pt idx="165">
                  <c:v>3105188.7238554899</c:v>
                </c:pt>
                <c:pt idx="166">
                  <c:v>3355123.3079030002</c:v>
                </c:pt>
                <c:pt idx="167">
                  <c:v>3925428.8354365998</c:v>
                </c:pt>
                <c:pt idx="168">
                  <c:v>2427276.9375972999</c:v>
                </c:pt>
                <c:pt idx="169">
                  <c:v>3022733.4871334299</c:v>
                </c:pt>
                <c:pt idx="170">
                  <c:v>2757339.7671504999</c:v>
                </c:pt>
                <c:pt idx="171">
                  <c:v>2525354.9958407301</c:v>
                </c:pt>
                <c:pt idx="172">
                  <c:v>2526250.3467722498</c:v>
                </c:pt>
                <c:pt idx="173">
                  <c:v>2653348.3888724502</c:v>
                </c:pt>
                <c:pt idx="174">
                  <c:v>3062845.1057704301</c:v>
                </c:pt>
                <c:pt idx="175">
                  <c:v>2689373.2762676999</c:v>
                </c:pt>
                <c:pt idx="176">
                  <c:v>3179168.61663807</c:v>
                </c:pt>
                <c:pt idx="177">
                  <c:v>3314351.9687301498</c:v>
                </c:pt>
                <c:pt idx="178">
                  <c:v>3519031.0878491402</c:v>
                </c:pt>
                <c:pt idx="179">
                  <c:v>3743610.3153997799</c:v>
                </c:pt>
                <c:pt idx="180">
                  <c:v>4270095.0494717704</c:v>
                </c:pt>
                <c:pt idx="181">
                  <c:v>3763539.3655936602</c:v>
                </c:pt>
                <c:pt idx="182">
                  <c:v>2593711.70662528</c:v>
                </c:pt>
                <c:pt idx="183">
                  <c:v>3687919.8809523</c:v>
                </c:pt>
                <c:pt idx="184">
                  <c:v>4549602.6081852</c:v>
                </c:pt>
                <c:pt idx="185">
                  <c:v>3556419.2967362199</c:v>
                </c:pt>
                <c:pt idx="186">
                  <c:v>3245039.04111645</c:v>
                </c:pt>
                <c:pt idx="187">
                  <c:v>3184605.1680512</c:v>
                </c:pt>
                <c:pt idx="188">
                  <c:v>3600327.4651259799</c:v>
                </c:pt>
                <c:pt idx="189">
                  <c:v>3287063.4222257901</c:v>
                </c:pt>
                <c:pt idx="190">
                  <c:v>3985395.2262713201</c:v>
                </c:pt>
                <c:pt idx="191">
                  <c:v>3483953.5727183898</c:v>
                </c:pt>
                <c:pt idx="192">
                  <c:v>3154611.0667852</c:v>
                </c:pt>
                <c:pt idx="193">
                  <c:v>2775500.4938762002</c:v>
                </c:pt>
                <c:pt idx="194">
                  <c:v>3325079.8318403699</c:v>
                </c:pt>
                <c:pt idx="195">
                  <c:v>3798987.5450212401</c:v>
                </c:pt>
                <c:pt idx="196">
                  <c:v>4122246.5865158802</c:v>
                </c:pt>
                <c:pt idx="197">
                  <c:v>3606434.87030295</c:v>
                </c:pt>
                <c:pt idx="198">
                  <c:v>3306946.6938377898</c:v>
                </c:pt>
                <c:pt idx="199">
                  <c:v>3585598.6642069099</c:v>
                </c:pt>
                <c:pt idx="200">
                  <c:v>3392501.8461248199</c:v>
                </c:pt>
                <c:pt idx="201">
                  <c:v>3305117.4564618799</c:v>
                </c:pt>
                <c:pt idx="202">
                  <c:v>3811627.2932413998</c:v>
                </c:pt>
                <c:pt idx="203">
                  <c:v>3062886.3514476302</c:v>
                </c:pt>
                <c:pt idx="204">
                  <c:v>2669815.8570639398</c:v>
                </c:pt>
                <c:pt idx="205">
                  <c:v>2516306.2468043999</c:v>
                </c:pt>
                <c:pt idx="206">
                  <c:v>3677583.8902498502</c:v>
                </c:pt>
                <c:pt idx="207">
                  <c:v>3225203.0161377601</c:v>
                </c:pt>
                <c:pt idx="208">
                  <c:v>3167967.7313106102</c:v>
                </c:pt>
                <c:pt idx="209">
                  <c:v>3486745.4530052901</c:v>
                </c:pt>
                <c:pt idx="210">
                  <c:v>3191273.4342264598</c:v>
                </c:pt>
                <c:pt idx="211">
                  <c:v>3049800.2554611699</c:v>
                </c:pt>
                <c:pt idx="212">
                  <c:v>3917763.8199779098</c:v>
                </c:pt>
                <c:pt idx="213">
                  <c:v>3282191.0622687498</c:v>
                </c:pt>
                <c:pt idx="214">
                  <c:v>3231638.9589082501</c:v>
                </c:pt>
                <c:pt idx="215">
                  <c:v>2373057.9931788398</c:v>
                </c:pt>
                <c:pt idx="216">
                  <c:v>2846903.6265284298</c:v>
                </c:pt>
                <c:pt idx="217">
                  <c:v>2379559.1779378802</c:v>
                </c:pt>
                <c:pt idx="218">
                  <c:v>2883901.1127639902</c:v>
                </c:pt>
                <c:pt idx="219">
                  <c:v>3132190.3346585399</c:v>
                </c:pt>
                <c:pt idx="220">
                  <c:v>3161795.0443575801</c:v>
                </c:pt>
                <c:pt idx="221">
                  <c:v>3914689.06094182</c:v>
                </c:pt>
                <c:pt idx="222">
                  <c:v>3257910.4466991802</c:v>
                </c:pt>
                <c:pt idx="223">
                  <c:v>2877629.7065706998</c:v>
                </c:pt>
                <c:pt idx="224">
                  <c:v>2664284.2457651501</c:v>
                </c:pt>
                <c:pt idx="225">
                  <c:v>3025907.6722829798</c:v>
                </c:pt>
                <c:pt idx="226">
                  <c:v>2549022.1449251301</c:v>
                </c:pt>
                <c:pt idx="227">
                  <c:v>2765784.3385734502</c:v>
                </c:pt>
                <c:pt idx="228">
                  <c:v>3106603.5028008898</c:v>
                </c:pt>
                <c:pt idx="229">
                  <c:v>3969516.7652565599</c:v>
                </c:pt>
                <c:pt idx="230">
                  <c:v>2900240.82111745</c:v>
                </c:pt>
                <c:pt idx="231">
                  <c:v>3265479.8696884098</c:v>
                </c:pt>
                <c:pt idx="232">
                  <c:v>2818893.0083863698</c:v>
                </c:pt>
                <c:pt idx="233">
                  <c:v>2772561.5129948598</c:v>
                </c:pt>
                <c:pt idx="234">
                  <c:v>2601438.2664475599</c:v>
                </c:pt>
                <c:pt idx="235">
                  <c:v>2560941.86608872</c:v>
                </c:pt>
                <c:pt idx="236">
                  <c:v>2482000.4862207999</c:v>
                </c:pt>
                <c:pt idx="237">
                  <c:v>2929449.7878992502</c:v>
                </c:pt>
                <c:pt idx="238">
                  <c:v>2344829.5447474401</c:v>
                </c:pt>
                <c:pt idx="239">
                  <c:v>2459128.5510209398</c:v>
                </c:pt>
                <c:pt idx="240">
                  <c:v>3576495.7778447298</c:v>
                </c:pt>
                <c:pt idx="241">
                  <c:v>2465255.94807745</c:v>
                </c:pt>
                <c:pt idx="242">
                  <c:v>3122639.0021045501</c:v>
                </c:pt>
                <c:pt idx="243">
                  <c:v>2852605.92052803</c:v>
                </c:pt>
                <c:pt idx="244">
                  <c:v>2421230.1753914198</c:v>
                </c:pt>
                <c:pt idx="245">
                  <c:v>2260989.5435654498</c:v>
                </c:pt>
                <c:pt idx="246">
                  <c:v>2945022.47583006</c:v>
                </c:pt>
                <c:pt idx="247">
                  <c:v>3370077.4808794199</c:v>
                </c:pt>
                <c:pt idx="248">
                  <c:v>2769181.3356455402</c:v>
                </c:pt>
                <c:pt idx="249">
                  <c:v>2718789.1737005501</c:v>
                </c:pt>
                <c:pt idx="250">
                  <c:v>3494561.5136698601</c:v>
                </c:pt>
                <c:pt idx="251">
                  <c:v>2989867.3746858402</c:v>
                </c:pt>
                <c:pt idx="252">
                  <c:v>2948113.89187558</c:v>
                </c:pt>
                <c:pt idx="253">
                  <c:v>3393476.8746585301</c:v>
                </c:pt>
                <c:pt idx="254">
                  <c:v>3116992.77176069</c:v>
                </c:pt>
                <c:pt idx="255">
                  <c:v>3128819.6283918698</c:v>
                </c:pt>
                <c:pt idx="256">
                  <c:v>2757173.04191382</c:v>
                </c:pt>
                <c:pt idx="257">
                  <c:v>2957815.2450147201</c:v>
                </c:pt>
                <c:pt idx="258">
                  <c:v>3066101.6657002401</c:v>
                </c:pt>
                <c:pt idx="259">
                  <c:v>3377986.8731839699</c:v>
                </c:pt>
                <c:pt idx="260">
                  <c:v>3674195.9667578302</c:v>
                </c:pt>
                <c:pt idx="261">
                  <c:v>3272272.8702902598</c:v>
                </c:pt>
                <c:pt idx="262">
                  <c:v>2932289.2789978799</c:v>
                </c:pt>
                <c:pt idx="263">
                  <c:v>4392142.7115697302</c:v>
                </c:pt>
                <c:pt idx="264">
                  <c:v>3077150.4366294402</c:v>
                </c:pt>
                <c:pt idx="265">
                  <c:v>4991178.4414585</c:v>
                </c:pt>
                <c:pt idx="266">
                  <c:v>3675176.6669925302</c:v>
                </c:pt>
                <c:pt idx="267">
                  <c:v>3038201.82803341</c:v>
                </c:pt>
                <c:pt idx="268">
                  <c:v>2909372.8489099601</c:v>
                </c:pt>
                <c:pt idx="269">
                  <c:v>3384522.5756595698</c:v>
                </c:pt>
                <c:pt idx="270">
                  <c:v>4003565.7373126801</c:v>
                </c:pt>
                <c:pt idx="271">
                  <c:v>3778015.9227191499</c:v>
                </c:pt>
                <c:pt idx="272">
                  <c:v>3373139.00249193</c:v>
                </c:pt>
                <c:pt idx="273">
                  <c:v>3060008.7105317898</c:v>
                </c:pt>
                <c:pt idx="274">
                  <c:v>2785227.0362649402</c:v>
                </c:pt>
                <c:pt idx="275">
                  <c:v>4709816.8491611704</c:v>
                </c:pt>
                <c:pt idx="276">
                  <c:v>4080256.8369636298</c:v>
                </c:pt>
                <c:pt idx="277">
                  <c:v>4742096.5054169605</c:v>
                </c:pt>
                <c:pt idx="278">
                  <c:v>3067325.98818526</c:v>
                </c:pt>
                <c:pt idx="279">
                  <c:v>2715211.2952941302</c:v>
                </c:pt>
                <c:pt idx="280">
                  <c:v>3427165.9259998798</c:v>
                </c:pt>
                <c:pt idx="281">
                  <c:v>3738333.8048353801</c:v>
                </c:pt>
                <c:pt idx="282">
                  <c:v>3013766.50511174</c:v>
                </c:pt>
                <c:pt idx="283">
                  <c:v>3076237.3483931399</c:v>
                </c:pt>
                <c:pt idx="284">
                  <c:v>3417885.7920805598</c:v>
                </c:pt>
                <c:pt idx="285">
                  <c:v>3317836.4396070102</c:v>
                </c:pt>
                <c:pt idx="286">
                  <c:v>2700268.8458058699</c:v>
                </c:pt>
                <c:pt idx="287">
                  <c:v>3625799.97246511</c:v>
                </c:pt>
                <c:pt idx="288">
                  <c:v>3184253.1292151101</c:v>
                </c:pt>
                <c:pt idx="289">
                  <c:v>2377347.8146828399</c:v>
                </c:pt>
                <c:pt idx="290">
                  <c:v>3541645.9032670599</c:v>
                </c:pt>
                <c:pt idx="291">
                  <c:v>3446469.3866055901</c:v>
                </c:pt>
                <c:pt idx="292">
                  <c:v>3410822.0316287698</c:v>
                </c:pt>
                <c:pt idx="293">
                  <c:v>3586453.8697374999</c:v>
                </c:pt>
                <c:pt idx="294">
                  <c:v>3309731.15398558</c:v>
                </c:pt>
                <c:pt idx="295">
                  <c:v>3728147.4697789298</c:v>
                </c:pt>
                <c:pt idx="296">
                  <c:v>3075490.2137806802</c:v>
                </c:pt>
                <c:pt idx="297">
                  <c:v>2861647.4114277498</c:v>
                </c:pt>
                <c:pt idx="298">
                  <c:v>3721469.9204330598</c:v>
                </c:pt>
                <c:pt idx="299">
                  <c:v>2674021.70898904</c:v>
                </c:pt>
                <c:pt idx="300">
                  <c:v>3424317.8188856398</c:v>
                </c:pt>
                <c:pt idx="301">
                  <c:v>3392222.3852278199</c:v>
                </c:pt>
                <c:pt idx="302">
                  <c:v>3657189.0237615099</c:v>
                </c:pt>
                <c:pt idx="303">
                  <c:v>3568417.0180290602</c:v>
                </c:pt>
                <c:pt idx="304">
                  <c:v>2847903.6833012602</c:v>
                </c:pt>
                <c:pt idx="305">
                  <c:v>3122947.7329677502</c:v>
                </c:pt>
                <c:pt idx="306">
                  <c:v>3134822.16631772</c:v>
                </c:pt>
                <c:pt idx="307">
                  <c:v>2633684.0376541498</c:v>
                </c:pt>
                <c:pt idx="308">
                  <c:v>3571365.7658111802</c:v>
                </c:pt>
                <c:pt idx="309">
                  <c:v>3621813.3137721401</c:v>
                </c:pt>
                <c:pt idx="310">
                  <c:v>3599237.7226116098</c:v>
                </c:pt>
                <c:pt idx="311">
                  <c:v>3500541.33626136</c:v>
                </c:pt>
                <c:pt idx="312">
                  <c:v>3108439.75546047</c:v>
                </c:pt>
                <c:pt idx="313">
                  <c:v>3424055.9953389298</c:v>
                </c:pt>
                <c:pt idx="314">
                  <c:v>3832276.7891719001</c:v>
                </c:pt>
                <c:pt idx="315">
                  <c:v>3967469.56748576</c:v>
                </c:pt>
                <c:pt idx="316">
                  <c:v>3513816.9076860999</c:v>
                </c:pt>
                <c:pt idx="317">
                  <c:v>3225305.8150490602</c:v>
                </c:pt>
                <c:pt idx="318">
                  <c:v>3386609.5576857701</c:v>
                </c:pt>
                <c:pt idx="319">
                  <c:v>3936547.0244207298</c:v>
                </c:pt>
                <c:pt idx="320">
                  <c:v>3983714.3245730498</c:v>
                </c:pt>
                <c:pt idx="321">
                  <c:v>3260186.6457577702</c:v>
                </c:pt>
                <c:pt idx="322">
                  <c:v>4797523.1667739004</c:v>
                </c:pt>
                <c:pt idx="323">
                  <c:v>3695850.6797400601</c:v>
                </c:pt>
                <c:pt idx="324">
                  <c:v>2849365.1356338402</c:v>
                </c:pt>
                <c:pt idx="325">
                  <c:v>3587635.6659504301</c:v>
                </c:pt>
                <c:pt idx="326">
                  <c:v>3877315.1365462099</c:v>
                </c:pt>
                <c:pt idx="327">
                  <c:v>2795864.9335740702</c:v>
                </c:pt>
                <c:pt idx="328">
                  <c:v>3472447.75532455</c:v>
                </c:pt>
                <c:pt idx="329">
                  <c:v>3185399.9895428801</c:v>
                </c:pt>
                <c:pt idx="330">
                  <c:v>2597332.5807267702</c:v>
                </c:pt>
                <c:pt idx="331">
                  <c:v>2911603.8125587502</c:v>
                </c:pt>
                <c:pt idx="332">
                  <c:v>2758645.1285603102</c:v>
                </c:pt>
                <c:pt idx="333">
                  <c:v>4726235.2223175</c:v>
                </c:pt>
                <c:pt idx="334">
                  <c:v>2609112.1607421301</c:v>
                </c:pt>
                <c:pt idx="335">
                  <c:v>2304159.1779986899</c:v>
                </c:pt>
                <c:pt idx="336">
                  <c:v>3478639.1723188502</c:v>
                </c:pt>
                <c:pt idx="337">
                  <c:v>2538609.1293359101</c:v>
                </c:pt>
                <c:pt idx="338">
                  <c:v>2081278.0295470399</c:v>
                </c:pt>
                <c:pt idx="339">
                  <c:v>2549340.1493317401</c:v>
                </c:pt>
                <c:pt idx="340">
                  <c:v>2858415.6290205098</c:v>
                </c:pt>
                <c:pt idx="341">
                  <c:v>2441730.2545924601</c:v>
                </c:pt>
                <c:pt idx="342">
                  <c:v>2766319.9540741802</c:v>
                </c:pt>
                <c:pt idx="343">
                  <c:v>2570141.7663565199</c:v>
                </c:pt>
                <c:pt idx="344">
                  <c:v>2113097.6196632502</c:v>
                </c:pt>
                <c:pt idx="345">
                  <c:v>2090209.7879729101</c:v>
                </c:pt>
                <c:pt idx="346">
                  <c:v>2660512.4323811401</c:v>
                </c:pt>
                <c:pt idx="347">
                  <c:v>2574700.48641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F76-49E0-AC3A-916D1FB1251D}"/>
            </c:ext>
          </c:extLst>
        </c:ser>
        <c:ser>
          <c:idx val="1"/>
          <c:order val="1"/>
          <c:tx>
            <c:strRef>
              <c:f>'m3 kausi'!$C$4</c:f>
              <c:strCache>
                <c:ptCount val="1"/>
                <c:pt idx="0">
                  <c:v>Luvat (sa.)</c:v>
                </c:pt>
              </c:strCache>
            </c:strRef>
          </c:tx>
          <c:spPr>
            <a:ln w="19050" cap="rnd">
              <a:solidFill>
                <a:srgbClr val="31D5C3"/>
              </a:solidFill>
              <a:round/>
            </a:ln>
            <a:effectLst/>
          </c:spPr>
          <c:marker>
            <c:symbol val="none"/>
          </c:marker>
          <c:cat>
            <c:numRef>
              <c:f>'m3 kausi'!$A$5:$A$352</c:f>
              <c:numCache>
                <c:formatCode>m/d/yyyy</c:formatCode>
                <c:ptCount val="348"/>
                <c:pt idx="0">
                  <c:v>34700</c:v>
                </c:pt>
                <c:pt idx="1">
                  <c:v>34731</c:v>
                </c:pt>
                <c:pt idx="2">
                  <c:v>34759</c:v>
                </c:pt>
                <c:pt idx="3">
                  <c:v>34790</c:v>
                </c:pt>
                <c:pt idx="4">
                  <c:v>34820</c:v>
                </c:pt>
                <c:pt idx="5">
                  <c:v>34851</c:v>
                </c:pt>
                <c:pt idx="6">
                  <c:v>34881</c:v>
                </c:pt>
                <c:pt idx="7">
                  <c:v>34912</c:v>
                </c:pt>
                <c:pt idx="8">
                  <c:v>34943</c:v>
                </c:pt>
                <c:pt idx="9">
                  <c:v>34973</c:v>
                </c:pt>
                <c:pt idx="10">
                  <c:v>35004</c:v>
                </c:pt>
                <c:pt idx="11">
                  <c:v>35034</c:v>
                </c:pt>
                <c:pt idx="12">
                  <c:v>35065</c:v>
                </c:pt>
                <c:pt idx="13">
                  <c:v>35096</c:v>
                </c:pt>
                <c:pt idx="14">
                  <c:v>35125</c:v>
                </c:pt>
                <c:pt idx="15">
                  <c:v>35156</c:v>
                </c:pt>
                <c:pt idx="16">
                  <c:v>35186</c:v>
                </c:pt>
                <c:pt idx="17">
                  <c:v>35217</c:v>
                </c:pt>
                <c:pt idx="18">
                  <c:v>35247</c:v>
                </c:pt>
                <c:pt idx="19">
                  <c:v>35278</c:v>
                </c:pt>
                <c:pt idx="20">
                  <c:v>35309</c:v>
                </c:pt>
                <c:pt idx="21">
                  <c:v>35339</c:v>
                </c:pt>
                <c:pt idx="22">
                  <c:v>35370</c:v>
                </c:pt>
                <c:pt idx="23">
                  <c:v>35400</c:v>
                </c:pt>
                <c:pt idx="24">
                  <c:v>35431</c:v>
                </c:pt>
                <c:pt idx="25">
                  <c:v>35462</c:v>
                </c:pt>
                <c:pt idx="26">
                  <c:v>35490</c:v>
                </c:pt>
                <c:pt idx="27">
                  <c:v>35521</c:v>
                </c:pt>
                <c:pt idx="28">
                  <c:v>35551</c:v>
                </c:pt>
                <c:pt idx="29">
                  <c:v>35582</c:v>
                </c:pt>
                <c:pt idx="30">
                  <c:v>35612</c:v>
                </c:pt>
                <c:pt idx="31">
                  <c:v>35643</c:v>
                </c:pt>
                <c:pt idx="32">
                  <c:v>35674</c:v>
                </c:pt>
                <c:pt idx="33">
                  <c:v>35704</c:v>
                </c:pt>
                <c:pt idx="34">
                  <c:v>35735</c:v>
                </c:pt>
                <c:pt idx="35">
                  <c:v>35765</c:v>
                </c:pt>
                <c:pt idx="36">
                  <c:v>35796</c:v>
                </c:pt>
                <c:pt idx="37">
                  <c:v>35827</c:v>
                </c:pt>
                <c:pt idx="38">
                  <c:v>35855</c:v>
                </c:pt>
                <c:pt idx="39">
                  <c:v>35886</c:v>
                </c:pt>
                <c:pt idx="40">
                  <c:v>35916</c:v>
                </c:pt>
                <c:pt idx="41">
                  <c:v>35947</c:v>
                </c:pt>
                <c:pt idx="42">
                  <c:v>35977</c:v>
                </c:pt>
                <c:pt idx="43">
                  <c:v>36008</c:v>
                </c:pt>
                <c:pt idx="44">
                  <c:v>36039</c:v>
                </c:pt>
                <c:pt idx="45">
                  <c:v>36069</c:v>
                </c:pt>
                <c:pt idx="46">
                  <c:v>36100</c:v>
                </c:pt>
                <c:pt idx="47">
                  <c:v>36130</c:v>
                </c:pt>
                <c:pt idx="48">
                  <c:v>36161</c:v>
                </c:pt>
                <c:pt idx="49">
                  <c:v>36192</c:v>
                </c:pt>
                <c:pt idx="50">
                  <c:v>36220</c:v>
                </c:pt>
                <c:pt idx="51">
                  <c:v>36251</c:v>
                </c:pt>
                <c:pt idx="52">
                  <c:v>36281</c:v>
                </c:pt>
                <c:pt idx="53">
                  <c:v>36312</c:v>
                </c:pt>
                <c:pt idx="54">
                  <c:v>36342</c:v>
                </c:pt>
                <c:pt idx="55">
                  <c:v>36373</c:v>
                </c:pt>
                <c:pt idx="56">
                  <c:v>36404</c:v>
                </c:pt>
                <c:pt idx="57">
                  <c:v>36434</c:v>
                </c:pt>
                <c:pt idx="58">
                  <c:v>36465</c:v>
                </c:pt>
                <c:pt idx="59">
                  <c:v>36495</c:v>
                </c:pt>
                <c:pt idx="60">
                  <c:v>36526</c:v>
                </c:pt>
                <c:pt idx="61">
                  <c:v>36557</c:v>
                </c:pt>
                <c:pt idx="62">
                  <c:v>36586</c:v>
                </c:pt>
                <c:pt idx="63">
                  <c:v>36617</c:v>
                </c:pt>
                <c:pt idx="64">
                  <c:v>36647</c:v>
                </c:pt>
                <c:pt idx="65">
                  <c:v>36678</c:v>
                </c:pt>
                <c:pt idx="66">
                  <c:v>36708</c:v>
                </c:pt>
                <c:pt idx="67">
                  <c:v>36739</c:v>
                </c:pt>
                <c:pt idx="68">
                  <c:v>36770</c:v>
                </c:pt>
                <c:pt idx="69">
                  <c:v>36800</c:v>
                </c:pt>
                <c:pt idx="70">
                  <c:v>36831</c:v>
                </c:pt>
                <c:pt idx="71">
                  <c:v>36861</c:v>
                </c:pt>
                <c:pt idx="72">
                  <c:v>36892</c:v>
                </c:pt>
                <c:pt idx="73">
                  <c:v>36923</c:v>
                </c:pt>
                <c:pt idx="74">
                  <c:v>36951</c:v>
                </c:pt>
                <c:pt idx="75">
                  <c:v>36982</c:v>
                </c:pt>
                <c:pt idx="76">
                  <c:v>37012</c:v>
                </c:pt>
                <c:pt idx="77">
                  <c:v>37043</c:v>
                </c:pt>
                <c:pt idx="78">
                  <c:v>37073</c:v>
                </c:pt>
                <c:pt idx="79">
                  <c:v>37104</c:v>
                </c:pt>
                <c:pt idx="80">
                  <c:v>37135</c:v>
                </c:pt>
                <c:pt idx="81">
                  <c:v>37165</c:v>
                </c:pt>
                <c:pt idx="82">
                  <c:v>37196</c:v>
                </c:pt>
                <c:pt idx="83">
                  <c:v>37226</c:v>
                </c:pt>
                <c:pt idx="84">
                  <c:v>37257</c:v>
                </c:pt>
                <c:pt idx="85">
                  <c:v>37288</c:v>
                </c:pt>
                <c:pt idx="86">
                  <c:v>37316</c:v>
                </c:pt>
                <c:pt idx="87">
                  <c:v>37347</c:v>
                </c:pt>
                <c:pt idx="88">
                  <c:v>37377</c:v>
                </c:pt>
                <c:pt idx="89">
                  <c:v>37408</c:v>
                </c:pt>
                <c:pt idx="90">
                  <c:v>37438</c:v>
                </c:pt>
                <c:pt idx="91">
                  <c:v>37469</c:v>
                </c:pt>
                <c:pt idx="92">
                  <c:v>37500</c:v>
                </c:pt>
                <c:pt idx="93">
                  <c:v>37530</c:v>
                </c:pt>
                <c:pt idx="94">
                  <c:v>37561</c:v>
                </c:pt>
                <c:pt idx="95">
                  <c:v>37591</c:v>
                </c:pt>
                <c:pt idx="96">
                  <c:v>37622</c:v>
                </c:pt>
                <c:pt idx="97">
                  <c:v>37653</c:v>
                </c:pt>
                <c:pt idx="98">
                  <c:v>37681</c:v>
                </c:pt>
                <c:pt idx="99">
                  <c:v>37712</c:v>
                </c:pt>
                <c:pt idx="100">
                  <c:v>37742</c:v>
                </c:pt>
                <c:pt idx="101">
                  <c:v>37773</c:v>
                </c:pt>
                <c:pt idx="102">
                  <c:v>37803</c:v>
                </c:pt>
                <c:pt idx="103">
                  <c:v>37834</c:v>
                </c:pt>
                <c:pt idx="104">
                  <c:v>37865</c:v>
                </c:pt>
                <c:pt idx="105">
                  <c:v>37895</c:v>
                </c:pt>
                <c:pt idx="106">
                  <c:v>37926</c:v>
                </c:pt>
                <c:pt idx="107">
                  <c:v>37956</c:v>
                </c:pt>
                <c:pt idx="108">
                  <c:v>37987</c:v>
                </c:pt>
                <c:pt idx="109">
                  <c:v>38018</c:v>
                </c:pt>
                <c:pt idx="110">
                  <c:v>38047</c:v>
                </c:pt>
                <c:pt idx="111">
                  <c:v>38078</c:v>
                </c:pt>
                <c:pt idx="112">
                  <c:v>38108</c:v>
                </c:pt>
                <c:pt idx="113">
                  <c:v>38139</c:v>
                </c:pt>
                <c:pt idx="114">
                  <c:v>38169</c:v>
                </c:pt>
                <c:pt idx="115">
                  <c:v>38200</c:v>
                </c:pt>
                <c:pt idx="116">
                  <c:v>38231</c:v>
                </c:pt>
                <c:pt idx="117">
                  <c:v>38261</c:v>
                </c:pt>
                <c:pt idx="118">
                  <c:v>38292</c:v>
                </c:pt>
                <c:pt idx="119">
                  <c:v>38322</c:v>
                </c:pt>
                <c:pt idx="120">
                  <c:v>38353</c:v>
                </c:pt>
                <c:pt idx="121">
                  <c:v>38384</c:v>
                </c:pt>
                <c:pt idx="122">
                  <c:v>38412</c:v>
                </c:pt>
                <c:pt idx="123">
                  <c:v>38443</c:v>
                </c:pt>
                <c:pt idx="124">
                  <c:v>38473</c:v>
                </c:pt>
                <c:pt idx="125">
                  <c:v>38504</c:v>
                </c:pt>
                <c:pt idx="126">
                  <c:v>38534</c:v>
                </c:pt>
                <c:pt idx="127">
                  <c:v>38565</c:v>
                </c:pt>
                <c:pt idx="128">
                  <c:v>38596</c:v>
                </c:pt>
                <c:pt idx="129">
                  <c:v>38626</c:v>
                </c:pt>
                <c:pt idx="130">
                  <c:v>38657</c:v>
                </c:pt>
                <c:pt idx="131">
                  <c:v>38687</c:v>
                </c:pt>
                <c:pt idx="132">
                  <c:v>38718</c:v>
                </c:pt>
                <c:pt idx="133">
                  <c:v>38749</c:v>
                </c:pt>
                <c:pt idx="134">
                  <c:v>38777</c:v>
                </c:pt>
                <c:pt idx="135">
                  <c:v>38808</c:v>
                </c:pt>
                <c:pt idx="136">
                  <c:v>38838</c:v>
                </c:pt>
                <c:pt idx="137">
                  <c:v>38869</c:v>
                </c:pt>
                <c:pt idx="138">
                  <c:v>38899</c:v>
                </c:pt>
                <c:pt idx="139">
                  <c:v>38930</c:v>
                </c:pt>
                <c:pt idx="140">
                  <c:v>38961</c:v>
                </c:pt>
                <c:pt idx="141">
                  <c:v>38991</c:v>
                </c:pt>
                <c:pt idx="142">
                  <c:v>39022</c:v>
                </c:pt>
                <c:pt idx="143">
                  <c:v>39052</c:v>
                </c:pt>
                <c:pt idx="144">
                  <c:v>39083</c:v>
                </c:pt>
                <c:pt idx="145">
                  <c:v>39114</c:v>
                </c:pt>
                <c:pt idx="146">
                  <c:v>39142</c:v>
                </c:pt>
                <c:pt idx="147">
                  <c:v>39173</c:v>
                </c:pt>
                <c:pt idx="148">
                  <c:v>39203</c:v>
                </c:pt>
                <c:pt idx="149">
                  <c:v>39234</c:v>
                </c:pt>
                <c:pt idx="150">
                  <c:v>39264</c:v>
                </c:pt>
                <c:pt idx="151">
                  <c:v>39295</c:v>
                </c:pt>
                <c:pt idx="152">
                  <c:v>39326</c:v>
                </c:pt>
                <c:pt idx="153">
                  <c:v>39356</c:v>
                </c:pt>
                <c:pt idx="154">
                  <c:v>39387</c:v>
                </c:pt>
                <c:pt idx="155">
                  <c:v>39417</c:v>
                </c:pt>
                <c:pt idx="156">
                  <c:v>39448</c:v>
                </c:pt>
                <c:pt idx="157">
                  <c:v>39479</c:v>
                </c:pt>
                <c:pt idx="158">
                  <c:v>39508</c:v>
                </c:pt>
                <c:pt idx="159">
                  <c:v>39539</c:v>
                </c:pt>
                <c:pt idx="160">
                  <c:v>39569</c:v>
                </c:pt>
                <c:pt idx="161">
                  <c:v>39600</c:v>
                </c:pt>
                <c:pt idx="162">
                  <c:v>39630</c:v>
                </c:pt>
                <c:pt idx="163">
                  <c:v>39661</c:v>
                </c:pt>
                <c:pt idx="164">
                  <c:v>39692</c:v>
                </c:pt>
                <c:pt idx="165">
                  <c:v>39722</c:v>
                </c:pt>
                <c:pt idx="166">
                  <c:v>39753</c:v>
                </c:pt>
                <c:pt idx="167">
                  <c:v>39783</c:v>
                </c:pt>
                <c:pt idx="168">
                  <c:v>39814</c:v>
                </c:pt>
                <c:pt idx="169">
                  <c:v>39845</c:v>
                </c:pt>
                <c:pt idx="170">
                  <c:v>39873</c:v>
                </c:pt>
                <c:pt idx="171">
                  <c:v>39904</c:v>
                </c:pt>
                <c:pt idx="172">
                  <c:v>39934</c:v>
                </c:pt>
                <c:pt idx="173">
                  <c:v>39965</c:v>
                </c:pt>
                <c:pt idx="174">
                  <c:v>39995</c:v>
                </c:pt>
                <c:pt idx="175">
                  <c:v>40026</c:v>
                </c:pt>
                <c:pt idx="176">
                  <c:v>40057</c:v>
                </c:pt>
                <c:pt idx="177">
                  <c:v>40087</c:v>
                </c:pt>
                <c:pt idx="178">
                  <c:v>40118</c:v>
                </c:pt>
                <c:pt idx="179">
                  <c:v>40148</c:v>
                </c:pt>
                <c:pt idx="180">
                  <c:v>40179</c:v>
                </c:pt>
                <c:pt idx="181">
                  <c:v>40210</c:v>
                </c:pt>
                <c:pt idx="182">
                  <c:v>40238</c:v>
                </c:pt>
                <c:pt idx="183">
                  <c:v>40269</c:v>
                </c:pt>
                <c:pt idx="184">
                  <c:v>40299</c:v>
                </c:pt>
                <c:pt idx="185">
                  <c:v>40330</c:v>
                </c:pt>
                <c:pt idx="186">
                  <c:v>40360</c:v>
                </c:pt>
                <c:pt idx="187">
                  <c:v>40391</c:v>
                </c:pt>
                <c:pt idx="188">
                  <c:v>40422</c:v>
                </c:pt>
                <c:pt idx="189">
                  <c:v>40452</c:v>
                </c:pt>
                <c:pt idx="190">
                  <c:v>40483</c:v>
                </c:pt>
                <c:pt idx="191">
                  <c:v>40513</c:v>
                </c:pt>
                <c:pt idx="192">
                  <c:v>40544</c:v>
                </c:pt>
                <c:pt idx="193">
                  <c:v>40575</c:v>
                </c:pt>
                <c:pt idx="194">
                  <c:v>40603</c:v>
                </c:pt>
                <c:pt idx="195">
                  <c:v>40634</c:v>
                </c:pt>
                <c:pt idx="196">
                  <c:v>40664</c:v>
                </c:pt>
                <c:pt idx="197">
                  <c:v>40695</c:v>
                </c:pt>
                <c:pt idx="198">
                  <c:v>40725</c:v>
                </c:pt>
                <c:pt idx="199">
                  <c:v>40756</c:v>
                </c:pt>
                <c:pt idx="200">
                  <c:v>40787</c:v>
                </c:pt>
                <c:pt idx="201">
                  <c:v>40817</c:v>
                </c:pt>
                <c:pt idx="202">
                  <c:v>40848</c:v>
                </c:pt>
                <c:pt idx="203">
                  <c:v>40878</c:v>
                </c:pt>
                <c:pt idx="204">
                  <c:v>40909</c:v>
                </c:pt>
                <c:pt idx="205">
                  <c:v>40940</c:v>
                </c:pt>
                <c:pt idx="206">
                  <c:v>40969</c:v>
                </c:pt>
                <c:pt idx="207">
                  <c:v>41000</c:v>
                </c:pt>
                <c:pt idx="208">
                  <c:v>41030</c:v>
                </c:pt>
                <c:pt idx="209">
                  <c:v>41061</c:v>
                </c:pt>
                <c:pt idx="210">
                  <c:v>41091</c:v>
                </c:pt>
                <c:pt idx="211">
                  <c:v>41122</c:v>
                </c:pt>
                <c:pt idx="212">
                  <c:v>41153</c:v>
                </c:pt>
                <c:pt idx="213">
                  <c:v>41183</c:v>
                </c:pt>
                <c:pt idx="214">
                  <c:v>41214</c:v>
                </c:pt>
                <c:pt idx="215">
                  <c:v>41244</c:v>
                </c:pt>
                <c:pt idx="216">
                  <c:v>41275</c:v>
                </c:pt>
                <c:pt idx="217">
                  <c:v>41306</c:v>
                </c:pt>
                <c:pt idx="218">
                  <c:v>41334</c:v>
                </c:pt>
                <c:pt idx="219">
                  <c:v>41365</c:v>
                </c:pt>
                <c:pt idx="220">
                  <c:v>41395</c:v>
                </c:pt>
                <c:pt idx="221">
                  <c:v>41426</c:v>
                </c:pt>
                <c:pt idx="222">
                  <c:v>41456</c:v>
                </c:pt>
                <c:pt idx="223">
                  <c:v>41487</c:v>
                </c:pt>
                <c:pt idx="224">
                  <c:v>41518</c:v>
                </c:pt>
                <c:pt idx="225">
                  <c:v>41548</c:v>
                </c:pt>
                <c:pt idx="226">
                  <c:v>41579</c:v>
                </c:pt>
                <c:pt idx="227">
                  <c:v>41609</c:v>
                </c:pt>
                <c:pt idx="228">
                  <c:v>41640</c:v>
                </c:pt>
                <c:pt idx="229">
                  <c:v>41671</c:v>
                </c:pt>
                <c:pt idx="230">
                  <c:v>41699</c:v>
                </c:pt>
                <c:pt idx="231">
                  <c:v>41730</c:v>
                </c:pt>
                <c:pt idx="232">
                  <c:v>41760</c:v>
                </c:pt>
                <c:pt idx="233">
                  <c:v>41791</c:v>
                </c:pt>
                <c:pt idx="234">
                  <c:v>41821</c:v>
                </c:pt>
                <c:pt idx="235">
                  <c:v>41852</c:v>
                </c:pt>
                <c:pt idx="236">
                  <c:v>41883</c:v>
                </c:pt>
                <c:pt idx="237">
                  <c:v>41913</c:v>
                </c:pt>
                <c:pt idx="238">
                  <c:v>41944</c:v>
                </c:pt>
                <c:pt idx="239">
                  <c:v>41974</c:v>
                </c:pt>
                <c:pt idx="240">
                  <c:v>42005</c:v>
                </c:pt>
                <c:pt idx="241">
                  <c:v>42036</c:v>
                </c:pt>
                <c:pt idx="242">
                  <c:v>42064</c:v>
                </c:pt>
                <c:pt idx="243">
                  <c:v>42095</c:v>
                </c:pt>
                <c:pt idx="244">
                  <c:v>42125</c:v>
                </c:pt>
                <c:pt idx="245">
                  <c:v>42156</c:v>
                </c:pt>
                <c:pt idx="246">
                  <c:v>42186</c:v>
                </c:pt>
                <c:pt idx="247">
                  <c:v>42217</c:v>
                </c:pt>
                <c:pt idx="248">
                  <c:v>42248</c:v>
                </c:pt>
                <c:pt idx="249">
                  <c:v>42278</c:v>
                </c:pt>
                <c:pt idx="250">
                  <c:v>42309</c:v>
                </c:pt>
                <c:pt idx="251">
                  <c:v>42339</c:v>
                </c:pt>
                <c:pt idx="252">
                  <c:v>42370</c:v>
                </c:pt>
                <c:pt idx="253">
                  <c:v>42401</c:v>
                </c:pt>
                <c:pt idx="254">
                  <c:v>42430</c:v>
                </c:pt>
                <c:pt idx="255">
                  <c:v>42461</c:v>
                </c:pt>
                <c:pt idx="256">
                  <c:v>42491</c:v>
                </c:pt>
                <c:pt idx="257">
                  <c:v>42522</c:v>
                </c:pt>
                <c:pt idx="258">
                  <c:v>42552</c:v>
                </c:pt>
                <c:pt idx="259">
                  <c:v>42583</c:v>
                </c:pt>
                <c:pt idx="260">
                  <c:v>42614</c:v>
                </c:pt>
                <c:pt idx="261">
                  <c:v>42644</c:v>
                </c:pt>
                <c:pt idx="262">
                  <c:v>42675</c:v>
                </c:pt>
                <c:pt idx="263">
                  <c:v>42705</c:v>
                </c:pt>
                <c:pt idx="264">
                  <c:v>42736</c:v>
                </c:pt>
                <c:pt idx="265">
                  <c:v>42767</c:v>
                </c:pt>
                <c:pt idx="266">
                  <c:v>42795</c:v>
                </c:pt>
                <c:pt idx="267">
                  <c:v>42826</c:v>
                </c:pt>
                <c:pt idx="268">
                  <c:v>42856</c:v>
                </c:pt>
                <c:pt idx="269">
                  <c:v>42887</c:v>
                </c:pt>
                <c:pt idx="270">
                  <c:v>42917</c:v>
                </c:pt>
                <c:pt idx="271">
                  <c:v>42948</c:v>
                </c:pt>
                <c:pt idx="272">
                  <c:v>42979</c:v>
                </c:pt>
                <c:pt idx="273">
                  <c:v>43009</c:v>
                </c:pt>
                <c:pt idx="274">
                  <c:v>43040</c:v>
                </c:pt>
                <c:pt idx="275">
                  <c:v>43070</c:v>
                </c:pt>
                <c:pt idx="276">
                  <c:v>43101</c:v>
                </c:pt>
                <c:pt idx="277">
                  <c:v>43132</c:v>
                </c:pt>
                <c:pt idx="278">
                  <c:v>43160</c:v>
                </c:pt>
                <c:pt idx="279">
                  <c:v>43191</c:v>
                </c:pt>
                <c:pt idx="280">
                  <c:v>43221</c:v>
                </c:pt>
                <c:pt idx="281">
                  <c:v>43252</c:v>
                </c:pt>
                <c:pt idx="282">
                  <c:v>43282</c:v>
                </c:pt>
                <c:pt idx="283">
                  <c:v>43313</c:v>
                </c:pt>
                <c:pt idx="284">
                  <c:v>43344</c:v>
                </c:pt>
                <c:pt idx="285">
                  <c:v>43374</c:v>
                </c:pt>
                <c:pt idx="286">
                  <c:v>43405</c:v>
                </c:pt>
                <c:pt idx="287">
                  <c:v>43435</c:v>
                </c:pt>
                <c:pt idx="288">
                  <c:v>43466</c:v>
                </c:pt>
                <c:pt idx="289">
                  <c:v>43497</c:v>
                </c:pt>
                <c:pt idx="290">
                  <c:v>43525</c:v>
                </c:pt>
                <c:pt idx="291">
                  <c:v>43556</c:v>
                </c:pt>
                <c:pt idx="292">
                  <c:v>43586</c:v>
                </c:pt>
                <c:pt idx="293">
                  <c:v>43617</c:v>
                </c:pt>
                <c:pt idx="294">
                  <c:v>43647</c:v>
                </c:pt>
                <c:pt idx="295">
                  <c:v>43678</c:v>
                </c:pt>
                <c:pt idx="296">
                  <c:v>43709</c:v>
                </c:pt>
                <c:pt idx="297">
                  <c:v>43739</c:v>
                </c:pt>
                <c:pt idx="298">
                  <c:v>43770</c:v>
                </c:pt>
                <c:pt idx="299">
                  <c:v>43800</c:v>
                </c:pt>
                <c:pt idx="300">
                  <c:v>43831</c:v>
                </c:pt>
                <c:pt idx="301">
                  <c:v>43862</c:v>
                </c:pt>
                <c:pt idx="302">
                  <c:v>43891</c:v>
                </c:pt>
                <c:pt idx="303">
                  <c:v>43922</c:v>
                </c:pt>
                <c:pt idx="304">
                  <c:v>43952</c:v>
                </c:pt>
                <c:pt idx="305">
                  <c:v>43983</c:v>
                </c:pt>
                <c:pt idx="306">
                  <c:v>44013</c:v>
                </c:pt>
                <c:pt idx="307">
                  <c:v>44044</c:v>
                </c:pt>
                <c:pt idx="308">
                  <c:v>44075</c:v>
                </c:pt>
                <c:pt idx="309">
                  <c:v>44105</c:v>
                </c:pt>
                <c:pt idx="310">
                  <c:v>44136</c:v>
                </c:pt>
                <c:pt idx="311">
                  <c:v>44166</c:v>
                </c:pt>
                <c:pt idx="312">
                  <c:v>44197</c:v>
                </c:pt>
                <c:pt idx="313">
                  <c:v>44228</c:v>
                </c:pt>
                <c:pt idx="314">
                  <c:v>44256</c:v>
                </c:pt>
                <c:pt idx="315">
                  <c:v>44287</c:v>
                </c:pt>
                <c:pt idx="316">
                  <c:v>44317</c:v>
                </c:pt>
                <c:pt idx="317">
                  <c:v>44348</c:v>
                </c:pt>
                <c:pt idx="318">
                  <c:v>44378</c:v>
                </c:pt>
                <c:pt idx="319">
                  <c:v>44409</c:v>
                </c:pt>
                <c:pt idx="320">
                  <c:v>44440</c:v>
                </c:pt>
                <c:pt idx="321">
                  <c:v>44470</c:v>
                </c:pt>
                <c:pt idx="322">
                  <c:v>44501</c:v>
                </c:pt>
                <c:pt idx="323">
                  <c:v>44531</c:v>
                </c:pt>
                <c:pt idx="324">
                  <c:v>44562</c:v>
                </c:pt>
                <c:pt idx="325">
                  <c:v>44593</c:v>
                </c:pt>
                <c:pt idx="326">
                  <c:v>44621</c:v>
                </c:pt>
                <c:pt idx="327">
                  <c:v>44652</c:v>
                </c:pt>
                <c:pt idx="328">
                  <c:v>44682</c:v>
                </c:pt>
                <c:pt idx="329">
                  <c:v>44713</c:v>
                </c:pt>
                <c:pt idx="330">
                  <c:v>44743</c:v>
                </c:pt>
                <c:pt idx="331">
                  <c:v>44774</c:v>
                </c:pt>
                <c:pt idx="332">
                  <c:v>44805</c:v>
                </c:pt>
                <c:pt idx="333">
                  <c:v>44835</c:v>
                </c:pt>
                <c:pt idx="334">
                  <c:v>44866</c:v>
                </c:pt>
                <c:pt idx="335">
                  <c:v>44896</c:v>
                </c:pt>
                <c:pt idx="336">
                  <c:v>44927</c:v>
                </c:pt>
                <c:pt idx="337">
                  <c:v>44958</c:v>
                </c:pt>
                <c:pt idx="338">
                  <c:v>44986</c:v>
                </c:pt>
                <c:pt idx="339">
                  <c:v>45017</c:v>
                </c:pt>
                <c:pt idx="340">
                  <c:v>45047</c:v>
                </c:pt>
                <c:pt idx="341">
                  <c:v>45078</c:v>
                </c:pt>
                <c:pt idx="342">
                  <c:v>45108</c:v>
                </c:pt>
                <c:pt idx="343">
                  <c:v>45139</c:v>
                </c:pt>
                <c:pt idx="344">
                  <c:v>45170</c:v>
                </c:pt>
                <c:pt idx="345">
                  <c:v>45200</c:v>
                </c:pt>
                <c:pt idx="346">
                  <c:v>45231</c:v>
                </c:pt>
                <c:pt idx="347">
                  <c:v>45261</c:v>
                </c:pt>
              </c:numCache>
            </c:numRef>
          </c:cat>
          <c:val>
            <c:numRef>
              <c:f>'m3 kausi'!$C$5:$C$352</c:f>
              <c:numCache>
                <c:formatCode>General</c:formatCode>
                <c:ptCount val="348"/>
                <c:pt idx="0">
                  <c:v>2724917.84891279</c:v>
                </c:pt>
                <c:pt idx="1">
                  <c:v>2044520.6172730301</c:v>
                </c:pt>
                <c:pt idx="2">
                  <c:v>1901977.5022267599</c:v>
                </c:pt>
                <c:pt idx="3">
                  <c:v>2165949.9813831099</c:v>
                </c:pt>
                <c:pt idx="4">
                  <c:v>1889866.62738362</c:v>
                </c:pt>
                <c:pt idx="5">
                  <c:v>2036074.5361148401</c:v>
                </c:pt>
                <c:pt idx="6">
                  <c:v>1550806.3247217201</c:v>
                </c:pt>
                <c:pt idx="7">
                  <c:v>2066614.8202269401</c:v>
                </c:pt>
                <c:pt idx="8">
                  <c:v>2691431.3140493399</c:v>
                </c:pt>
                <c:pt idx="9">
                  <c:v>2084595.7111002</c:v>
                </c:pt>
                <c:pt idx="10">
                  <c:v>2295591.45433392</c:v>
                </c:pt>
                <c:pt idx="11">
                  <c:v>2006185.07619163</c:v>
                </c:pt>
                <c:pt idx="12">
                  <c:v>1828221.7627262799</c:v>
                </c:pt>
                <c:pt idx="13">
                  <c:v>2879416.2923934199</c:v>
                </c:pt>
                <c:pt idx="14">
                  <c:v>2118164.53863193</c:v>
                </c:pt>
                <c:pt idx="15">
                  <c:v>2860057.23460135</c:v>
                </c:pt>
                <c:pt idx="16">
                  <c:v>2584872.8429729599</c:v>
                </c:pt>
                <c:pt idx="17">
                  <c:v>2732902.3935413002</c:v>
                </c:pt>
                <c:pt idx="18">
                  <c:v>2436116.6073534898</c:v>
                </c:pt>
                <c:pt idx="19">
                  <c:v>2951158.0799484998</c:v>
                </c:pt>
                <c:pt idx="20">
                  <c:v>2469562.2001141198</c:v>
                </c:pt>
                <c:pt idx="21">
                  <c:v>2558951.3016788401</c:v>
                </c:pt>
                <c:pt idx="22">
                  <c:v>2398982.8287102301</c:v>
                </c:pt>
                <c:pt idx="23">
                  <c:v>2456903.6112199002</c:v>
                </c:pt>
                <c:pt idx="24">
                  <c:v>2864958.1481300802</c:v>
                </c:pt>
                <c:pt idx="25">
                  <c:v>2381814.94648842</c:v>
                </c:pt>
                <c:pt idx="26">
                  <c:v>2880011.6309839101</c:v>
                </c:pt>
                <c:pt idx="27">
                  <c:v>3120432.9451419902</c:v>
                </c:pt>
                <c:pt idx="28">
                  <c:v>3537510.1367897601</c:v>
                </c:pt>
                <c:pt idx="29">
                  <c:v>2964450.52877576</c:v>
                </c:pt>
                <c:pt idx="30">
                  <c:v>3346600.17321982</c:v>
                </c:pt>
                <c:pt idx="31">
                  <c:v>3334336.8562137401</c:v>
                </c:pt>
                <c:pt idx="32">
                  <c:v>3351085.5770111</c:v>
                </c:pt>
                <c:pt idx="33">
                  <c:v>3368566.5768168499</c:v>
                </c:pt>
                <c:pt idx="34">
                  <c:v>3082843.7012817399</c:v>
                </c:pt>
                <c:pt idx="35">
                  <c:v>3079208.9891636702</c:v>
                </c:pt>
                <c:pt idx="36">
                  <c:v>3101858.9025429199</c:v>
                </c:pt>
                <c:pt idx="37">
                  <c:v>3234550.0036671101</c:v>
                </c:pt>
                <c:pt idx="38">
                  <c:v>3764900.69189859</c:v>
                </c:pt>
                <c:pt idx="39">
                  <c:v>3233134.3344668001</c:v>
                </c:pt>
                <c:pt idx="40">
                  <c:v>3578574.9592742599</c:v>
                </c:pt>
                <c:pt idx="41">
                  <c:v>3297593.71117615</c:v>
                </c:pt>
                <c:pt idx="42">
                  <c:v>4041052.1496100202</c:v>
                </c:pt>
                <c:pt idx="43">
                  <c:v>4116135.6356936898</c:v>
                </c:pt>
                <c:pt idx="44">
                  <c:v>3188192.0587634998</c:v>
                </c:pt>
                <c:pt idx="45">
                  <c:v>3361303.5350887598</c:v>
                </c:pt>
                <c:pt idx="46">
                  <c:v>3317815.92372591</c:v>
                </c:pt>
                <c:pt idx="47">
                  <c:v>3494038.7247238499</c:v>
                </c:pt>
                <c:pt idx="48">
                  <c:v>3860545.0418698499</c:v>
                </c:pt>
                <c:pt idx="49">
                  <c:v>3579311.6381099098</c:v>
                </c:pt>
                <c:pt idx="50">
                  <c:v>3738924.9491461199</c:v>
                </c:pt>
                <c:pt idx="51">
                  <c:v>3196432.53315733</c:v>
                </c:pt>
                <c:pt idx="52">
                  <c:v>3358275.5727923601</c:v>
                </c:pt>
                <c:pt idx="53">
                  <c:v>3183155.98214813</c:v>
                </c:pt>
                <c:pt idx="54">
                  <c:v>4346959.9370762603</c:v>
                </c:pt>
                <c:pt idx="55">
                  <c:v>3156693.3552593999</c:v>
                </c:pt>
                <c:pt idx="56">
                  <c:v>3651719.4495212701</c:v>
                </c:pt>
                <c:pt idx="57">
                  <c:v>4298104.7281301199</c:v>
                </c:pt>
                <c:pt idx="58">
                  <c:v>4378763.6365883797</c:v>
                </c:pt>
                <c:pt idx="59">
                  <c:v>3999845.72457173</c:v>
                </c:pt>
                <c:pt idx="60">
                  <c:v>3709365.05513361</c:v>
                </c:pt>
                <c:pt idx="61">
                  <c:v>4626870.3577978099</c:v>
                </c:pt>
                <c:pt idx="62">
                  <c:v>4029561.5042576599</c:v>
                </c:pt>
                <c:pt idx="63">
                  <c:v>3344160.2049793801</c:v>
                </c:pt>
                <c:pt idx="64">
                  <c:v>3632319.21958734</c:v>
                </c:pt>
                <c:pt idx="65">
                  <c:v>3778448.1793692298</c:v>
                </c:pt>
                <c:pt idx="66">
                  <c:v>3432812.1348961298</c:v>
                </c:pt>
                <c:pt idx="67">
                  <c:v>4332366.94190579</c:v>
                </c:pt>
                <c:pt idx="68">
                  <c:v>3393669.0901223598</c:v>
                </c:pt>
                <c:pt idx="69">
                  <c:v>3408209.0286689098</c:v>
                </c:pt>
                <c:pt idx="70">
                  <c:v>4045540.0458316202</c:v>
                </c:pt>
                <c:pt idx="71">
                  <c:v>3909723.9054594701</c:v>
                </c:pt>
                <c:pt idx="72">
                  <c:v>3135350.5664093099</c:v>
                </c:pt>
                <c:pt idx="73">
                  <c:v>3755136.7132936702</c:v>
                </c:pt>
                <c:pt idx="74">
                  <c:v>3530116.7821501498</c:v>
                </c:pt>
                <c:pt idx="75">
                  <c:v>3850653.8475031601</c:v>
                </c:pt>
                <c:pt idx="76">
                  <c:v>3754557.9797521499</c:v>
                </c:pt>
                <c:pt idx="77">
                  <c:v>3628714.2322306</c:v>
                </c:pt>
                <c:pt idx="78">
                  <c:v>3430657.6119315699</c:v>
                </c:pt>
                <c:pt idx="79">
                  <c:v>3442021.0214573201</c:v>
                </c:pt>
                <c:pt idx="80">
                  <c:v>3091451.5783547699</c:v>
                </c:pt>
                <c:pt idx="81">
                  <c:v>3418190.08792273</c:v>
                </c:pt>
                <c:pt idx="82">
                  <c:v>2913768.8431636998</c:v>
                </c:pt>
                <c:pt idx="83">
                  <c:v>3503746.81019112</c:v>
                </c:pt>
                <c:pt idx="84">
                  <c:v>3079597.26537666</c:v>
                </c:pt>
                <c:pt idx="85">
                  <c:v>3625837.1557271099</c:v>
                </c:pt>
                <c:pt idx="86">
                  <c:v>3666261.8392862901</c:v>
                </c:pt>
                <c:pt idx="87">
                  <c:v>4357052.4545908701</c:v>
                </c:pt>
                <c:pt idx="88">
                  <c:v>3644389.8001277298</c:v>
                </c:pt>
                <c:pt idx="89">
                  <c:v>3689546.8045364101</c:v>
                </c:pt>
                <c:pt idx="90">
                  <c:v>3403195.6557853199</c:v>
                </c:pt>
                <c:pt idx="91">
                  <c:v>3290229.7144442699</c:v>
                </c:pt>
                <c:pt idx="92">
                  <c:v>3538116.1574379499</c:v>
                </c:pt>
                <c:pt idx="93">
                  <c:v>3556811.2332972498</c:v>
                </c:pt>
                <c:pt idx="94">
                  <c:v>3041354.5929022701</c:v>
                </c:pt>
                <c:pt idx="95">
                  <c:v>2241318.9225309598</c:v>
                </c:pt>
                <c:pt idx="96">
                  <c:v>3090424.0425805501</c:v>
                </c:pt>
                <c:pt idx="97">
                  <c:v>3111101.5093975998</c:v>
                </c:pt>
                <c:pt idx="98">
                  <c:v>3537299.9580746898</c:v>
                </c:pt>
                <c:pt idx="99">
                  <c:v>3543818.1141080698</c:v>
                </c:pt>
                <c:pt idx="100">
                  <c:v>3344597.3833281598</c:v>
                </c:pt>
                <c:pt idx="101">
                  <c:v>3492991.5171357398</c:v>
                </c:pt>
                <c:pt idx="102">
                  <c:v>4284070.4193991097</c:v>
                </c:pt>
                <c:pt idx="103">
                  <c:v>3737754.8898250102</c:v>
                </c:pt>
                <c:pt idx="104">
                  <c:v>3492457.5658934801</c:v>
                </c:pt>
                <c:pt idx="105">
                  <c:v>3658954.0744860601</c:v>
                </c:pt>
                <c:pt idx="106">
                  <c:v>4020585.5749018001</c:v>
                </c:pt>
                <c:pt idx="107">
                  <c:v>4098752.7030215301</c:v>
                </c:pt>
                <c:pt idx="108">
                  <c:v>2931105.6828867798</c:v>
                </c:pt>
                <c:pt idx="109">
                  <c:v>2907386.4162358702</c:v>
                </c:pt>
                <c:pt idx="110">
                  <c:v>3347108.67275343</c:v>
                </c:pt>
                <c:pt idx="111">
                  <c:v>3833765.4069644902</c:v>
                </c:pt>
                <c:pt idx="112">
                  <c:v>3641136.5410528998</c:v>
                </c:pt>
                <c:pt idx="113">
                  <c:v>3948703.8175524399</c:v>
                </c:pt>
                <c:pt idx="114">
                  <c:v>3909053.0820750599</c:v>
                </c:pt>
                <c:pt idx="115">
                  <c:v>3190057.7333146199</c:v>
                </c:pt>
                <c:pt idx="116">
                  <c:v>3787670.2689277101</c:v>
                </c:pt>
                <c:pt idx="117">
                  <c:v>3426014.8617831301</c:v>
                </c:pt>
                <c:pt idx="118">
                  <c:v>3433155.8946259599</c:v>
                </c:pt>
                <c:pt idx="119">
                  <c:v>4269356.52668982</c:v>
                </c:pt>
                <c:pt idx="120">
                  <c:v>6264162.1210841704</c:v>
                </c:pt>
                <c:pt idx="121">
                  <c:v>4043210.9603192001</c:v>
                </c:pt>
                <c:pt idx="122">
                  <c:v>3773883.7857810501</c:v>
                </c:pt>
                <c:pt idx="123">
                  <c:v>3933739.9473387599</c:v>
                </c:pt>
                <c:pt idx="124">
                  <c:v>4551122.08749869</c:v>
                </c:pt>
                <c:pt idx="125">
                  <c:v>3721139.62588978</c:v>
                </c:pt>
                <c:pt idx="126">
                  <c:v>4439727.3802074697</c:v>
                </c:pt>
                <c:pt idx="127">
                  <c:v>3653781.2833091202</c:v>
                </c:pt>
                <c:pt idx="128">
                  <c:v>3782436.1590330801</c:v>
                </c:pt>
                <c:pt idx="129">
                  <c:v>3458182.6443646098</c:v>
                </c:pt>
                <c:pt idx="130">
                  <c:v>3232172.5044285599</c:v>
                </c:pt>
                <c:pt idx="131">
                  <c:v>3323008.2669495</c:v>
                </c:pt>
                <c:pt idx="132">
                  <c:v>4098041.3956335499</c:v>
                </c:pt>
                <c:pt idx="133">
                  <c:v>5074864.1717307903</c:v>
                </c:pt>
                <c:pt idx="134">
                  <c:v>4080615.9740657802</c:v>
                </c:pt>
                <c:pt idx="135">
                  <c:v>3599049.0647714399</c:v>
                </c:pt>
                <c:pt idx="136">
                  <c:v>3920397.2434362299</c:v>
                </c:pt>
                <c:pt idx="137">
                  <c:v>4365127.9016169701</c:v>
                </c:pt>
                <c:pt idx="138">
                  <c:v>4314828.52397181</c:v>
                </c:pt>
                <c:pt idx="139">
                  <c:v>4816007.3744056998</c:v>
                </c:pt>
                <c:pt idx="140">
                  <c:v>4938429.18373698</c:v>
                </c:pt>
                <c:pt idx="141">
                  <c:v>4379238.0404341901</c:v>
                </c:pt>
                <c:pt idx="142">
                  <c:v>4605436.9807038996</c:v>
                </c:pt>
                <c:pt idx="143">
                  <c:v>4774503.76952493</c:v>
                </c:pt>
                <c:pt idx="144">
                  <c:v>4719443.090748</c:v>
                </c:pt>
                <c:pt idx="145">
                  <c:v>4440388.4354349896</c:v>
                </c:pt>
                <c:pt idx="146">
                  <c:v>5388821.0771112898</c:v>
                </c:pt>
                <c:pt idx="147">
                  <c:v>4527023.6815614598</c:v>
                </c:pt>
                <c:pt idx="148">
                  <c:v>5067504.3101952299</c:v>
                </c:pt>
                <c:pt idx="149">
                  <c:v>4819839.74863231</c:v>
                </c:pt>
                <c:pt idx="150">
                  <c:v>4537541.1488597803</c:v>
                </c:pt>
                <c:pt idx="151">
                  <c:v>5061158.75047372</c:v>
                </c:pt>
                <c:pt idx="152">
                  <c:v>4717091.8693951797</c:v>
                </c:pt>
                <c:pt idx="153">
                  <c:v>4925896.6109087802</c:v>
                </c:pt>
                <c:pt idx="154">
                  <c:v>4124963.2325887401</c:v>
                </c:pt>
                <c:pt idx="155">
                  <c:v>4254047.6883431599</c:v>
                </c:pt>
                <c:pt idx="156">
                  <c:v>4821060.2028416405</c:v>
                </c:pt>
                <c:pt idx="157">
                  <c:v>4378376.9606073396</c:v>
                </c:pt>
                <c:pt idx="158">
                  <c:v>4035042.6467045499</c:v>
                </c:pt>
                <c:pt idx="159">
                  <c:v>4213010.6675828397</c:v>
                </c:pt>
                <c:pt idx="160">
                  <c:v>3945894.1464888002</c:v>
                </c:pt>
                <c:pt idx="161">
                  <c:v>3996794.18128506</c:v>
                </c:pt>
                <c:pt idx="162">
                  <c:v>3695463.84881271</c:v>
                </c:pt>
                <c:pt idx="163">
                  <c:v>4138044.6478444999</c:v>
                </c:pt>
                <c:pt idx="164">
                  <c:v>3888753.3493516101</c:v>
                </c:pt>
                <c:pt idx="165">
                  <c:v>3809198.4429890001</c:v>
                </c:pt>
                <c:pt idx="166">
                  <c:v>3636461.9267621799</c:v>
                </c:pt>
                <c:pt idx="167">
                  <c:v>4608032.1378628099</c:v>
                </c:pt>
                <c:pt idx="168">
                  <c:v>3054586.5964121101</c:v>
                </c:pt>
                <c:pt idx="169">
                  <c:v>2915588.9429581198</c:v>
                </c:pt>
                <c:pt idx="170">
                  <c:v>3413522.2665421502</c:v>
                </c:pt>
                <c:pt idx="171">
                  <c:v>3316694.7841424202</c:v>
                </c:pt>
                <c:pt idx="172">
                  <c:v>3351228.84490345</c:v>
                </c:pt>
                <c:pt idx="173">
                  <c:v>3083875.7163629602</c:v>
                </c:pt>
                <c:pt idx="174">
                  <c:v>3054250.2955891001</c:v>
                </c:pt>
                <c:pt idx="175">
                  <c:v>2978106.54685318</c:v>
                </c:pt>
                <c:pt idx="176">
                  <c:v>3978884.9759135698</c:v>
                </c:pt>
                <c:pt idx="177">
                  <c:v>3683400.9846029901</c:v>
                </c:pt>
                <c:pt idx="178">
                  <c:v>5132610.3708771002</c:v>
                </c:pt>
                <c:pt idx="179">
                  <c:v>4939853.0466745803</c:v>
                </c:pt>
                <c:pt idx="180">
                  <c:v>4677540.1145749697</c:v>
                </c:pt>
                <c:pt idx="181">
                  <c:v>3871221.93585297</c:v>
                </c:pt>
                <c:pt idx="182">
                  <c:v>3692679.94544825</c:v>
                </c:pt>
                <c:pt idx="183">
                  <c:v>2838738.9493621001</c:v>
                </c:pt>
                <c:pt idx="184">
                  <c:v>3682418.5583617599</c:v>
                </c:pt>
                <c:pt idx="185">
                  <c:v>3027295.2640157798</c:v>
                </c:pt>
                <c:pt idx="186">
                  <c:v>3544504.6514468901</c:v>
                </c:pt>
                <c:pt idx="187">
                  <c:v>3503429.3399131401</c:v>
                </c:pt>
                <c:pt idx="188">
                  <c:v>3187723.33918363</c:v>
                </c:pt>
                <c:pt idx="189">
                  <c:v>3879153.57068545</c:v>
                </c:pt>
                <c:pt idx="190">
                  <c:v>3937673.32319543</c:v>
                </c:pt>
                <c:pt idx="191">
                  <c:v>3471844.2371002799</c:v>
                </c:pt>
                <c:pt idx="192">
                  <c:v>3661798.2293948098</c:v>
                </c:pt>
                <c:pt idx="193">
                  <c:v>4143180.3452064302</c:v>
                </c:pt>
                <c:pt idx="194">
                  <c:v>3795739.36900842</c:v>
                </c:pt>
                <c:pt idx="195">
                  <c:v>3497466.6168944901</c:v>
                </c:pt>
                <c:pt idx="196">
                  <c:v>3918478.7915692902</c:v>
                </c:pt>
                <c:pt idx="197">
                  <c:v>4671368.4361214498</c:v>
                </c:pt>
                <c:pt idx="198">
                  <c:v>3628282.72777294</c:v>
                </c:pt>
                <c:pt idx="199">
                  <c:v>3990793.5846577999</c:v>
                </c:pt>
                <c:pt idx="200">
                  <c:v>3733507.0681892899</c:v>
                </c:pt>
                <c:pt idx="201">
                  <c:v>3380670.7383242198</c:v>
                </c:pt>
                <c:pt idx="202">
                  <c:v>3028554.5104382499</c:v>
                </c:pt>
                <c:pt idx="203">
                  <c:v>3051316.58223231</c:v>
                </c:pt>
                <c:pt idx="204">
                  <c:v>2942487.35398251</c:v>
                </c:pt>
                <c:pt idx="205">
                  <c:v>2876841.1000768701</c:v>
                </c:pt>
                <c:pt idx="206">
                  <c:v>3354726.06633966</c:v>
                </c:pt>
                <c:pt idx="207">
                  <c:v>2838179.46358515</c:v>
                </c:pt>
                <c:pt idx="208">
                  <c:v>3084754.9265539101</c:v>
                </c:pt>
                <c:pt idx="209">
                  <c:v>3887274.0475788298</c:v>
                </c:pt>
                <c:pt idx="210">
                  <c:v>3697305.5828115498</c:v>
                </c:pt>
                <c:pt idx="211">
                  <c:v>3736869.6067027799</c:v>
                </c:pt>
                <c:pt idx="212">
                  <c:v>4446019.3638605298</c:v>
                </c:pt>
                <c:pt idx="213">
                  <c:v>3723529.67476248</c:v>
                </c:pt>
                <c:pt idx="214">
                  <c:v>3015574.4712891099</c:v>
                </c:pt>
                <c:pt idx="215">
                  <c:v>2712856.15646839</c:v>
                </c:pt>
                <c:pt idx="216">
                  <c:v>3024364.9272386199</c:v>
                </c:pt>
                <c:pt idx="217">
                  <c:v>3058421.9308853899</c:v>
                </c:pt>
                <c:pt idx="218">
                  <c:v>2898080.64553452</c:v>
                </c:pt>
                <c:pt idx="219">
                  <c:v>3733583.6397211398</c:v>
                </c:pt>
                <c:pt idx="220">
                  <c:v>3306598.5872981902</c:v>
                </c:pt>
                <c:pt idx="221">
                  <c:v>3293594.6774759502</c:v>
                </c:pt>
                <c:pt idx="222">
                  <c:v>3869543.9391285498</c:v>
                </c:pt>
                <c:pt idx="223">
                  <c:v>2846170.2537357602</c:v>
                </c:pt>
                <c:pt idx="224">
                  <c:v>2701596.20899161</c:v>
                </c:pt>
                <c:pt idx="225">
                  <c:v>3054949.7439726298</c:v>
                </c:pt>
                <c:pt idx="226">
                  <c:v>3649685.25325851</c:v>
                </c:pt>
                <c:pt idx="227">
                  <c:v>4080819.9834973998</c:v>
                </c:pt>
                <c:pt idx="228">
                  <c:v>3059831.0107851401</c:v>
                </c:pt>
                <c:pt idx="229">
                  <c:v>2546184.6594964201</c:v>
                </c:pt>
                <c:pt idx="230">
                  <c:v>3150528.8695197101</c:v>
                </c:pt>
                <c:pt idx="231">
                  <c:v>3752076.7488196902</c:v>
                </c:pt>
                <c:pt idx="232">
                  <c:v>2925061.2672320399</c:v>
                </c:pt>
                <c:pt idx="233">
                  <c:v>2871651.6347032301</c:v>
                </c:pt>
                <c:pt idx="234">
                  <c:v>2474400.83580775</c:v>
                </c:pt>
                <c:pt idx="235">
                  <c:v>2981071.06033336</c:v>
                </c:pt>
                <c:pt idx="236">
                  <c:v>2728586.37480471</c:v>
                </c:pt>
                <c:pt idx="237">
                  <c:v>3278592.1354037002</c:v>
                </c:pt>
                <c:pt idx="238">
                  <c:v>2446793.7024023002</c:v>
                </c:pt>
                <c:pt idx="239">
                  <c:v>2923133.78397719</c:v>
                </c:pt>
                <c:pt idx="240">
                  <c:v>2135441.4747091401</c:v>
                </c:pt>
                <c:pt idx="241">
                  <c:v>2546276.7465030202</c:v>
                </c:pt>
                <c:pt idx="242">
                  <c:v>5083000.1552894497</c:v>
                </c:pt>
                <c:pt idx="243">
                  <c:v>2236758.9697240698</c:v>
                </c:pt>
                <c:pt idx="244">
                  <c:v>2499631.43417974</c:v>
                </c:pt>
                <c:pt idx="245">
                  <c:v>3219091.0274449298</c:v>
                </c:pt>
                <c:pt idx="246">
                  <c:v>3793842.0644835201</c:v>
                </c:pt>
                <c:pt idx="247">
                  <c:v>3919474.2312931502</c:v>
                </c:pt>
                <c:pt idx="248">
                  <c:v>3868094.21559129</c:v>
                </c:pt>
                <c:pt idx="249">
                  <c:v>2424369.6680067</c:v>
                </c:pt>
                <c:pt idx="250">
                  <c:v>3271083.4469362199</c:v>
                </c:pt>
                <c:pt idx="251">
                  <c:v>2986557.1971291499</c:v>
                </c:pt>
                <c:pt idx="252">
                  <c:v>3267642.2710748399</c:v>
                </c:pt>
                <c:pt idx="253">
                  <c:v>3856931.4220581399</c:v>
                </c:pt>
                <c:pt idx="254">
                  <c:v>3076120.4154643002</c:v>
                </c:pt>
                <c:pt idx="255">
                  <c:v>3576800.1486087898</c:v>
                </c:pt>
                <c:pt idx="256">
                  <c:v>3977473.0355664701</c:v>
                </c:pt>
                <c:pt idx="257">
                  <c:v>3042053.5306285899</c:v>
                </c:pt>
                <c:pt idx="258">
                  <c:v>3756130.6489549698</c:v>
                </c:pt>
                <c:pt idx="259">
                  <c:v>2927281.9470935599</c:v>
                </c:pt>
                <c:pt idx="260">
                  <c:v>2769024.2569301501</c:v>
                </c:pt>
                <c:pt idx="261">
                  <c:v>4014686.6170549202</c:v>
                </c:pt>
                <c:pt idx="262">
                  <c:v>4125631.3376919599</c:v>
                </c:pt>
                <c:pt idx="263">
                  <c:v>3551642.0782913999</c:v>
                </c:pt>
                <c:pt idx="264">
                  <c:v>3503928.3590635001</c:v>
                </c:pt>
                <c:pt idx="265">
                  <c:v>3997500.5097575299</c:v>
                </c:pt>
                <c:pt idx="266">
                  <c:v>3838165.4924004101</c:v>
                </c:pt>
                <c:pt idx="267">
                  <c:v>4058449.5218224302</c:v>
                </c:pt>
                <c:pt idx="268">
                  <c:v>3860924.0547933802</c:v>
                </c:pt>
                <c:pt idx="269">
                  <c:v>3173943.0502272402</c:v>
                </c:pt>
                <c:pt idx="270">
                  <c:v>2528768.7863964802</c:v>
                </c:pt>
                <c:pt idx="271">
                  <c:v>3472572.5593807101</c:v>
                </c:pt>
                <c:pt idx="272">
                  <c:v>3705733.28594766</c:v>
                </c:pt>
                <c:pt idx="273">
                  <c:v>3445771.1279501901</c:v>
                </c:pt>
                <c:pt idx="274">
                  <c:v>3832731.64054687</c:v>
                </c:pt>
                <c:pt idx="275">
                  <c:v>3990016.80179996</c:v>
                </c:pt>
                <c:pt idx="276">
                  <c:v>3404412.7469478599</c:v>
                </c:pt>
                <c:pt idx="277">
                  <c:v>3720967.55875195</c:v>
                </c:pt>
                <c:pt idx="278">
                  <c:v>3184703.2978524398</c:v>
                </c:pt>
                <c:pt idx="279">
                  <c:v>4185716.3946749698</c:v>
                </c:pt>
                <c:pt idx="280">
                  <c:v>3722957.7731218701</c:v>
                </c:pt>
                <c:pt idx="281">
                  <c:v>3516433.6127699502</c:v>
                </c:pt>
                <c:pt idx="282">
                  <c:v>3849831.9618877401</c:v>
                </c:pt>
                <c:pt idx="283">
                  <c:v>3678588.0385737298</c:v>
                </c:pt>
                <c:pt idx="284">
                  <c:v>2829385.4905830398</c:v>
                </c:pt>
                <c:pt idx="285">
                  <c:v>3383956.0234184498</c:v>
                </c:pt>
                <c:pt idx="286">
                  <c:v>3606059.7560938299</c:v>
                </c:pt>
                <c:pt idx="287">
                  <c:v>4203520.7358631399</c:v>
                </c:pt>
                <c:pt idx="288">
                  <c:v>4912284.5109532699</c:v>
                </c:pt>
                <c:pt idx="289">
                  <c:v>3284942.6022931701</c:v>
                </c:pt>
                <c:pt idx="290">
                  <c:v>3481820.9364197701</c:v>
                </c:pt>
                <c:pt idx="291">
                  <c:v>3564199.59925219</c:v>
                </c:pt>
                <c:pt idx="292">
                  <c:v>3909314.3398942901</c:v>
                </c:pt>
                <c:pt idx="293">
                  <c:v>4569407.7603199203</c:v>
                </c:pt>
                <c:pt idx="294">
                  <c:v>3678237.8928546701</c:v>
                </c:pt>
                <c:pt idx="295">
                  <c:v>4114237.47202557</c:v>
                </c:pt>
                <c:pt idx="296">
                  <c:v>4086462.5085250898</c:v>
                </c:pt>
                <c:pt idx="297">
                  <c:v>3109671.6707208999</c:v>
                </c:pt>
                <c:pt idx="298">
                  <c:v>4206572.86262991</c:v>
                </c:pt>
                <c:pt idx="299">
                  <c:v>3027485.9721507598</c:v>
                </c:pt>
                <c:pt idx="300">
                  <c:v>3273163.2559843701</c:v>
                </c:pt>
                <c:pt idx="301">
                  <c:v>3263758.1572597502</c:v>
                </c:pt>
                <c:pt idx="302">
                  <c:v>3458036.0775879798</c:v>
                </c:pt>
                <c:pt idx="303">
                  <c:v>3497889.4358256501</c:v>
                </c:pt>
                <c:pt idx="304">
                  <c:v>2738987.5447331099</c:v>
                </c:pt>
                <c:pt idx="305">
                  <c:v>3376922.4137691702</c:v>
                </c:pt>
                <c:pt idx="306">
                  <c:v>3827250.8700641198</c:v>
                </c:pt>
                <c:pt idx="307">
                  <c:v>3546301.78576404</c:v>
                </c:pt>
                <c:pt idx="308">
                  <c:v>3505809.4599721502</c:v>
                </c:pt>
                <c:pt idx="309">
                  <c:v>4140797.3607530701</c:v>
                </c:pt>
                <c:pt idx="310">
                  <c:v>3354679.0487946798</c:v>
                </c:pt>
                <c:pt idx="311">
                  <c:v>3810237.5102283498</c:v>
                </c:pt>
                <c:pt idx="312">
                  <c:v>4122729.9186637299</c:v>
                </c:pt>
                <c:pt idx="313">
                  <c:v>3844389.3299599499</c:v>
                </c:pt>
                <c:pt idx="314">
                  <c:v>4105687.9091194901</c:v>
                </c:pt>
                <c:pt idx="315">
                  <c:v>4066136.5104413601</c:v>
                </c:pt>
                <c:pt idx="316">
                  <c:v>4128667.0143570099</c:v>
                </c:pt>
                <c:pt idx="317">
                  <c:v>3267576.2447184799</c:v>
                </c:pt>
                <c:pt idx="318">
                  <c:v>3982366.6511005899</c:v>
                </c:pt>
                <c:pt idx="319">
                  <c:v>2993817.1849257401</c:v>
                </c:pt>
                <c:pt idx="320">
                  <c:v>3305905.8976062499</c:v>
                </c:pt>
                <c:pt idx="321">
                  <c:v>4981816.9860258298</c:v>
                </c:pt>
                <c:pt idx="322">
                  <c:v>3293645.9264027402</c:v>
                </c:pt>
                <c:pt idx="323">
                  <c:v>3664108.1439612699</c:v>
                </c:pt>
                <c:pt idx="324">
                  <c:v>3100390.8520160401</c:v>
                </c:pt>
                <c:pt idx="325">
                  <c:v>4337544.6647405401</c:v>
                </c:pt>
                <c:pt idx="326">
                  <c:v>3540783.0752393799</c:v>
                </c:pt>
                <c:pt idx="327">
                  <c:v>3156136.7487028399</c:v>
                </c:pt>
                <c:pt idx="328">
                  <c:v>2930226.0564198801</c:v>
                </c:pt>
                <c:pt idx="329">
                  <c:v>2613669.05149379</c:v>
                </c:pt>
                <c:pt idx="330">
                  <c:v>2624815.62299647</c:v>
                </c:pt>
                <c:pt idx="331">
                  <c:v>5567999.1463701501</c:v>
                </c:pt>
                <c:pt idx="332">
                  <c:v>2557629.0746263</c:v>
                </c:pt>
                <c:pt idx="333">
                  <c:v>2485179.36739397</c:v>
                </c:pt>
                <c:pt idx="334">
                  <c:v>2875144.9144097199</c:v>
                </c:pt>
                <c:pt idx="335">
                  <c:v>2824115.4304312398</c:v>
                </c:pt>
                <c:pt idx="336">
                  <c:v>3244041.5071906899</c:v>
                </c:pt>
                <c:pt idx="337">
                  <c:v>2487705.2091648802</c:v>
                </c:pt>
                <c:pt idx="338">
                  <c:v>2916506.63919141</c:v>
                </c:pt>
                <c:pt idx="339">
                  <c:v>2149990.0531136999</c:v>
                </c:pt>
                <c:pt idx="340">
                  <c:v>2106281.45930894</c:v>
                </c:pt>
                <c:pt idx="341">
                  <c:v>2894153.17409848</c:v>
                </c:pt>
                <c:pt idx="342">
                  <c:v>1859510.5984217699</c:v>
                </c:pt>
                <c:pt idx="343">
                  <c:v>1919535.27949966</c:v>
                </c:pt>
                <c:pt idx="344">
                  <c:v>2735077.52953438</c:v>
                </c:pt>
                <c:pt idx="345">
                  <c:v>2006884.7594742801</c:v>
                </c:pt>
                <c:pt idx="346">
                  <c:v>2208633.6113798702</c:v>
                </c:pt>
                <c:pt idx="347">
                  <c:v>1850583.4070987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F76-49E0-AC3A-916D1FB1251D}"/>
            </c:ext>
          </c:extLst>
        </c:ser>
        <c:ser>
          <c:idx val="3"/>
          <c:order val="3"/>
          <c:tx>
            <c:strRef>
              <c:f>'m3 kausi'!$E$4</c:f>
              <c:strCache>
                <c:ptCount val="1"/>
              </c:strCache>
            </c:strRef>
          </c:tx>
          <c:spPr>
            <a:ln w="19050" cap="rnd">
              <a:solidFill>
                <a:srgbClr val="FF00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m3 kausi'!$A$5:$A$352</c:f>
              <c:numCache>
                <c:formatCode>m/d/yyyy</c:formatCode>
                <c:ptCount val="348"/>
                <c:pt idx="0">
                  <c:v>34700</c:v>
                </c:pt>
                <c:pt idx="1">
                  <c:v>34731</c:v>
                </c:pt>
                <c:pt idx="2">
                  <c:v>34759</c:v>
                </c:pt>
                <c:pt idx="3">
                  <c:v>34790</c:v>
                </c:pt>
                <c:pt idx="4">
                  <c:v>34820</c:v>
                </c:pt>
                <c:pt idx="5">
                  <c:v>34851</c:v>
                </c:pt>
                <c:pt idx="6">
                  <c:v>34881</c:v>
                </c:pt>
                <c:pt idx="7">
                  <c:v>34912</c:v>
                </c:pt>
                <c:pt idx="8">
                  <c:v>34943</c:v>
                </c:pt>
                <c:pt idx="9">
                  <c:v>34973</c:v>
                </c:pt>
                <c:pt idx="10">
                  <c:v>35004</c:v>
                </c:pt>
                <c:pt idx="11">
                  <c:v>35034</c:v>
                </c:pt>
                <c:pt idx="12">
                  <c:v>35065</c:v>
                </c:pt>
                <c:pt idx="13">
                  <c:v>35096</c:v>
                </c:pt>
                <c:pt idx="14">
                  <c:v>35125</c:v>
                </c:pt>
                <c:pt idx="15">
                  <c:v>35156</c:v>
                </c:pt>
                <c:pt idx="16">
                  <c:v>35186</c:v>
                </c:pt>
                <c:pt idx="17">
                  <c:v>35217</c:v>
                </c:pt>
                <c:pt idx="18">
                  <c:v>35247</c:v>
                </c:pt>
                <c:pt idx="19">
                  <c:v>35278</c:v>
                </c:pt>
                <c:pt idx="20">
                  <c:v>35309</c:v>
                </c:pt>
                <c:pt idx="21">
                  <c:v>35339</c:v>
                </c:pt>
                <c:pt idx="22">
                  <c:v>35370</c:v>
                </c:pt>
                <c:pt idx="23">
                  <c:v>35400</c:v>
                </c:pt>
                <c:pt idx="24">
                  <c:v>35431</c:v>
                </c:pt>
                <c:pt idx="25">
                  <c:v>35462</c:v>
                </c:pt>
                <c:pt idx="26">
                  <c:v>35490</c:v>
                </c:pt>
                <c:pt idx="27">
                  <c:v>35521</c:v>
                </c:pt>
                <c:pt idx="28">
                  <c:v>35551</c:v>
                </c:pt>
                <c:pt idx="29">
                  <c:v>35582</c:v>
                </c:pt>
                <c:pt idx="30">
                  <c:v>35612</c:v>
                </c:pt>
                <c:pt idx="31">
                  <c:v>35643</c:v>
                </c:pt>
                <c:pt idx="32">
                  <c:v>35674</c:v>
                </c:pt>
                <c:pt idx="33">
                  <c:v>35704</c:v>
                </c:pt>
                <c:pt idx="34">
                  <c:v>35735</c:v>
                </c:pt>
                <c:pt idx="35">
                  <c:v>35765</c:v>
                </c:pt>
                <c:pt idx="36">
                  <c:v>35796</c:v>
                </c:pt>
                <c:pt idx="37">
                  <c:v>35827</c:v>
                </c:pt>
                <c:pt idx="38">
                  <c:v>35855</c:v>
                </c:pt>
                <c:pt idx="39">
                  <c:v>35886</c:v>
                </c:pt>
                <c:pt idx="40">
                  <c:v>35916</c:v>
                </c:pt>
                <c:pt idx="41">
                  <c:v>35947</c:v>
                </c:pt>
                <c:pt idx="42">
                  <c:v>35977</c:v>
                </c:pt>
                <c:pt idx="43">
                  <c:v>36008</c:v>
                </c:pt>
                <c:pt idx="44">
                  <c:v>36039</c:v>
                </c:pt>
                <c:pt idx="45">
                  <c:v>36069</c:v>
                </c:pt>
                <c:pt idx="46">
                  <c:v>36100</c:v>
                </c:pt>
                <c:pt idx="47">
                  <c:v>36130</c:v>
                </c:pt>
                <c:pt idx="48">
                  <c:v>36161</c:v>
                </c:pt>
                <c:pt idx="49">
                  <c:v>36192</c:v>
                </c:pt>
                <c:pt idx="50">
                  <c:v>36220</c:v>
                </c:pt>
                <c:pt idx="51">
                  <c:v>36251</c:v>
                </c:pt>
                <c:pt idx="52">
                  <c:v>36281</c:v>
                </c:pt>
                <c:pt idx="53">
                  <c:v>36312</c:v>
                </c:pt>
                <c:pt idx="54">
                  <c:v>36342</c:v>
                </c:pt>
                <c:pt idx="55">
                  <c:v>36373</c:v>
                </c:pt>
                <c:pt idx="56">
                  <c:v>36404</c:v>
                </c:pt>
                <c:pt idx="57">
                  <c:v>36434</c:v>
                </c:pt>
                <c:pt idx="58">
                  <c:v>36465</c:v>
                </c:pt>
                <c:pt idx="59">
                  <c:v>36495</c:v>
                </c:pt>
                <c:pt idx="60">
                  <c:v>36526</c:v>
                </c:pt>
                <c:pt idx="61">
                  <c:v>36557</c:v>
                </c:pt>
                <c:pt idx="62">
                  <c:v>36586</c:v>
                </c:pt>
                <c:pt idx="63">
                  <c:v>36617</c:v>
                </c:pt>
                <c:pt idx="64">
                  <c:v>36647</c:v>
                </c:pt>
                <c:pt idx="65">
                  <c:v>36678</c:v>
                </c:pt>
                <c:pt idx="66">
                  <c:v>36708</c:v>
                </c:pt>
                <c:pt idx="67">
                  <c:v>36739</c:v>
                </c:pt>
                <c:pt idx="68">
                  <c:v>36770</c:v>
                </c:pt>
                <c:pt idx="69">
                  <c:v>36800</c:v>
                </c:pt>
                <c:pt idx="70">
                  <c:v>36831</c:v>
                </c:pt>
                <c:pt idx="71">
                  <c:v>36861</c:v>
                </c:pt>
                <c:pt idx="72">
                  <c:v>36892</c:v>
                </c:pt>
                <c:pt idx="73">
                  <c:v>36923</c:v>
                </c:pt>
                <c:pt idx="74">
                  <c:v>36951</c:v>
                </c:pt>
                <c:pt idx="75">
                  <c:v>36982</c:v>
                </c:pt>
                <c:pt idx="76">
                  <c:v>37012</c:v>
                </c:pt>
                <c:pt idx="77">
                  <c:v>37043</c:v>
                </c:pt>
                <c:pt idx="78">
                  <c:v>37073</c:v>
                </c:pt>
                <c:pt idx="79">
                  <c:v>37104</c:v>
                </c:pt>
                <c:pt idx="80">
                  <c:v>37135</c:v>
                </c:pt>
                <c:pt idx="81">
                  <c:v>37165</c:v>
                </c:pt>
                <c:pt idx="82">
                  <c:v>37196</c:v>
                </c:pt>
                <c:pt idx="83">
                  <c:v>37226</c:v>
                </c:pt>
                <c:pt idx="84">
                  <c:v>37257</c:v>
                </c:pt>
                <c:pt idx="85">
                  <c:v>37288</c:v>
                </c:pt>
                <c:pt idx="86">
                  <c:v>37316</c:v>
                </c:pt>
                <c:pt idx="87">
                  <c:v>37347</c:v>
                </c:pt>
                <c:pt idx="88">
                  <c:v>37377</c:v>
                </c:pt>
                <c:pt idx="89">
                  <c:v>37408</c:v>
                </c:pt>
                <c:pt idx="90">
                  <c:v>37438</c:v>
                </c:pt>
                <c:pt idx="91">
                  <c:v>37469</c:v>
                </c:pt>
                <c:pt idx="92">
                  <c:v>37500</c:v>
                </c:pt>
                <c:pt idx="93">
                  <c:v>37530</c:v>
                </c:pt>
                <c:pt idx="94">
                  <c:v>37561</c:v>
                </c:pt>
                <c:pt idx="95">
                  <c:v>37591</c:v>
                </c:pt>
                <c:pt idx="96">
                  <c:v>37622</c:v>
                </c:pt>
                <c:pt idx="97">
                  <c:v>37653</c:v>
                </c:pt>
                <c:pt idx="98">
                  <c:v>37681</c:v>
                </c:pt>
                <c:pt idx="99">
                  <c:v>37712</c:v>
                </c:pt>
                <c:pt idx="100">
                  <c:v>37742</c:v>
                </c:pt>
                <c:pt idx="101">
                  <c:v>37773</c:v>
                </c:pt>
                <c:pt idx="102">
                  <c:v>37803</c:v>
                </c:pt>
                <c:pt idx="103">
                  <c:v>37834</c:v>
                </c:pt>
                <c:pt idx="104">
                  <c:v>37865</c:v>
                </c:pt>
                <c:pt idx="105">
                  <c:v>37895</c:v>
                </c:pt>
                <c:pt idx="106">
                  <c:v>37926</c:v>
                </c:pt>
                <c:pt idx="107">
                  <c:v>37956</c:v>
                </c:pt>
                <c:pt idx="108">
                  <c:v>37987</c:v>
                </c:pt>
                <c:pt idx="109">
                  <c:v>38018</c:v>
                </c:pt>
                <c:pt idx="110">
                  <c:v>38047</c:v>
                </c:pt>
                <c:pt idx="111">
                  <c:v>38078</c:v>
                </c:pt>
                <c:pt idx="112">
                  <c:v>38108</c:v>
                </c:pt>
                <c:pt idx="113">
                  <c:v>38139</c:v>
                </c:pt>
                <c:pt idx="114">
                  <c:v>38169</c:v>
                </c:pt>
                <c:pt idx="115">
                  <c:v>38200</c:v>
                </c:pt>
                <c:pt idx="116">
                  <c:v>38231</c:v>
                </c:pt>
                <c:pt idx="117">
                  <c:v>38261</c:v>
                </c:pt>
                <c:pt idx="118">
                  <c:v>38292</c:v>
                </c:pt>
                <c:pt idx="119">
                  <c:v>38322</c:v>
                </c:pt>
                <c:pt idx="120">
                  <c:v>38353</c:v>
                </c:pt>
                <c:pt idx="121">
                  <c:v>38384</c:v>
                </c:pt>
                <c:pt idx="122">
                  <c:v>38412</c:v>
                </c:pt>
                <c:pt idx="123">
                  <c:v>38443</c:v>
                </c:pt>
                <c:pt idx="124">
                  <c:v>38473</c:v>
                </c:pt>
                <c:pt idx="125">
                  <c:v>38504</c:v>
                </c:pt>
                <c:pt idx="126">
                  <c:v>38534</c:v>
                </c:pt>
                <c:pt idx="127">
                  <c:v>38565</c:v>
                </c:pt>
                <c:pt idx="128">
                  <c:v>38596</c:v>
                </c:pt>
                <c:pt idx="129">
                  <c:v>38626</c:v>
                </c:pt>
                <c:pt idx="130">
                  <c:v>38657</c:v>
                </c:pt>
                <c:pt idx="131">
                  <c:v>38687</c:v>
                </c:pt>
                <c:pt idx="132">
                  <c:v>38718</c:v>
                </c:pt>
                <c:pt idx="133">
                  <c:v>38749</c:v>
                </c:pt>
                <c:pt idx="134">
                  <c:v>38777</c:v>
                </c:pt>
                <c:pt idx="135">
                  <c:v>38808</c:v>
                </c:pt>
                <c:pt idx="136">
                  <c:v>38838</c:v>
                </c:pt>
                <c:pt idx="137">
                  <c:v>38869</c:v>
                </c:pt>
                <c:pt idx="138">
                  <c:v>38899</c:v>
                </c:pt>
                <c:pt idx="139">
                  <c:v>38930</c:v>
                </c:pt>
                <c:pt idx="140">
                  <c:v>38961</c:v>
                </c:pt>
                <c:pt idx="141">
                  <c:v>38991</c:v>
                </c:pt>
                <c:pt idx="142">
                  <c:v>39022</c:v>
                </c:pt>
                <c:pt idx="143">
                  <c:v>39052</c:v>
                </c:pt>
                <c:pt idx="144">
                  <c:v>39083</c:v>
                </c:pt>
                <c:pt idx="145">
                  <c:v>39114</c:v>
                </c:pt>
                <c:pt idx="146">
                  <c:v>39142</c:v>
                </c:pt>
                <c:pt idx="147">
                  <c:v>39173</c:v>
                </c:pt>
                <c:pt idx="148">
                  <c:v>39203</c:v>
                </c:pt>
                <c:pt idx="149">
                  <c:v>39234</c:v>
                </c:pt>
                <c:pt idx="150">
                  <c:v>39264</c:v>
                </c:pt>
                <c:pt idx="151">
                  <c:v>39295</c:v>
                </c:pt>
                <c:pt idx="152">
                  <c:v>39326</c:v>
                </c:pt>
                <c:pt idx="153">
                  <c:v>39356</c:v>
                </c:pt>
                <c:pt idx="154">
                  <c:v>39387</c:v>
                </c:pt>
                <c:pt idx="155">
                  <c:v>39417</c:v>
                </c:pt>
                <c:pt idx="156">
                  <c:v>39448</c:v>
                </c:pt>
                <c:pt idx="157">
                  <c:v>39479</c:v>
                </c:pt>
                <c:pt idx="158">
                  <c:v>39508</c:v>
                </c:pt>
                <c:pt idx="159">
                  <c:v>39539</c:v>
                </c:pt>
                <c:pt idx="160">
                  <c:v>39569</c:v>
                </c:pt>
                <c:pt idx="161">
                  <c:v>39600</c:v>
                </c:pt>
                <c:pt idx="162">
                  <c:v>39630</c:v>
                </c:pt>
                <c:pt idx="163">
                  <c:v>39661</c:v>
                </c:pt>
                <c:pt idx="164">
                  <c:v>39692</c:v>
                </c:pt>
                <c:pt idx="165">
                  <c:v>39722</c:v>
                </c:pt>
                <c:pt idx="166">
                  <c:v>39753</c:v>
                </c:pt>
                <c:pt idx="167">
                  <c:v>39783</c:v>
                </c:pt>
                <c:pt idx="168">
                  <c:v>39814</c:v>
                </c:pt>
                <c:pt idx="169">
                  <c:v>39845</c:v>
                </c:pt>
                <c:pt idx="170">
                  <c:v>39873</c:v>
                </c:pt>
                <c:pt idx="171">
                  <c:v>39904</c:v>
                </c:pt>
                <c:pt idx="172">
                  <c:v>39934</c:v>
                </c:pt>
                <c:pt idx="173">
                  <c:v>39965</c:v>
                </c:pt>
                <c:pt idx="174">
                  <c:v>39995</c:v>
                </c:pt>
                <c:pt idx="175">
                  <c:v>40026</c:v>
                </c:pt>
                <c:pt idx="176">
                  <c:v>40057</c:v>
                </c:pt>
                <c:pt idx="177">
                  <c:v>40087</c:v>
                </c:pt>
                <c:pt idx="178">
                  <c:v>40118</c:v>
                </c:pt>
                <c:pt idx="179">
                  <c:v>40148</c:v>
                </c:pt>
                <c:pt idx="180">
                  <c:v>40179</c:v>
                </c:pt>
                <c:pt idx="181">
                  <c:v>40210</c:v>
                </c:pt>
                <c:pt idx="182">
                  <c:v>40238</c:v>
                </c:pt>
                <c:pt idx="183">
                  <c:v>40269</c:v>
                </c:pt>
                <c:pt idx="184">
                  <c:v>40299</c:v>
                </c:pt>
                <c:pt idx="185">
                  <c:v>40330</c:v>
                </c:pt>
                <c:pt idx="186">
                  <c:v>40360</c:v>
                </c:pt>
                <c:pt idx="187">
                  <c:v>40391</c:v>
                </c:pt>
                <c:pt idx="188">
                  <c:v>40422</c:v>
                </c:pt>
                <c:pt idx="189">
                  <c:v>40452</c:v>
                </c:pt>
                <c:pt idx="190">
                  <c:v>40483</c:v>
                </c:pt>
                <c:pt idx="191">
                  <c:v>40513</c:v>
                </c:pt>
                <c:pt idx="192">
                  <c:v>40544</c:v>
                </c:pt>
                <c:pt idx="193">
                  <c:v>40575</c:v>
                </c:pt>
                <c:pt idx="194">
                  <c:v>40603</c:v>
                </c:pt>
                <c:pt idx="195">
                  <c:v>40634</c:v>
                </c:pt>
                <c:pt idx="196">
                  <c:v>40664</c:v>
                </c:pt>
                <c:pt idx="197">
                  <c:v>40695</c:v>
                </c:pt>
                <c:pt idx="198">
                  <c:v>40725</c:v>
                </c:pt>
                <c:pt idx="199">
                  <c:v>40756</c:v>
                </c:pt>
                <c:pt idx="200">
                  <c:v>40787</c:v>
                </c:pt>
                <c:pt idx="201">
                  <c:v>40817</c:v>
                </c:pt>
                <c:pt idx="202">
                  <c:v>40848</c:v>
                </c:pt>
                <c:pt idx="203">
                  <c:v>40878</c:v>
                </c:pt>
                <c:pt idx="204">
                  <c:v>40909</c:v>
                </c:pt>
                <c:pt idx="205">
                  <c:v>40940</c:v>
                </c:pt>
                <c:pt idx="206">
                  <c:v>40969</c:v>
                </c:pt>
                <c:pt idx="207">
                  <c:v>41000</c:v>
                </c:pt>
                <c:pt idx="208">
                  <c:v>41030</c:v>
                </c:pt>
                <c:pt idx="209">
                  <c:v>41061</c:v>
                </c:pt>
                <c:pt idx="210">
                  <c:v>41091</c:v>
                </c:pt>
                <c:pt idx="211">
                  <c:v>41122</c:v>
                </c:pt>
                <c:pt idx="212">
                  <c:v>41153</c:v>
                </c:pt>
                <c:pt idx="213">
                  <c:v>41183</c:v>
                </c:pt>
                <c:pt idx="214">
                  <c:v>41214</c:v>
                </c:pt>
                <c:pt idx="215">
                  <c:v>41244</c:v>
                </c:pt>
                <c:pt idx="216">
                  <c:v>41275</c:v>
                </c:pt>
                <c:pt idx="217">
                  <c:v>41306</c:v>
                </c:pt>
                <c:pt idx="218">
                  <c:v>41334</c:v>
                </c:pt>
                <c:pt idx="219">
                  <c:v>41365</c:v>
                </c:pt>
                <c:pt idx="220">
                  <c:v>41395</c:v>
                </c:pt>
                <c:pt idx="221">
                  <c:v>41426</c:v>
                </c:pt>
                <c:pt idx="222">
                  <c:v>41456</c:v>
                </c:pt>
                <c:pt idx="223">
                  <c:v>41487</c:v>
                </c:pt>
                <c:pt idx="224">
                  <c:v>41518</c:v>
                </c:pt>
                <c:pt idx="225">
                  <c:v>41548</c:v>
                </c:pt>
                <c:pt idx="226">
                  <c:v>41579</c:v>
                </c:pt>
                <c:pt idx="227">
                  <c:v>41609</c:v>
                </c:pt>
                <c:pt idx="228">
                  <c:v>41640</c:v>
                </c:pt>
                <c:pt idx="229">
                  <c:v>41671</c:v>
                </c:pt>
                <c:pt idx="230">
                  <c:v>41699</c:v>
                </c:pt>
                <c:pt idx="231">
                  <c:v>41730</c:v>
                </c:pt>
                <c:pt idx="232">
                  <c:v>41760</c:v>
                </c:pt>
                <c:pt idx="233">
                  <c:v>41791</c:v>
                </c:pt>
                <c:pt idx="234">
                  <c:v>41821</c:v>
                </c:pt>
                <c:pt idx="235">
                  <c:v>41852</c:v>
                </c:pt>
                <c:pt idx="236">
                  <c:v>41883</c:v>
                </c:pt>
                <c:pt idx="237">
                  <c:v>41913</c:v>
                </c:pt>
                <c:pt idx="238">
                  <c:v>41944</c:v>
                </c:pt>
                <c:pt idx="239">
                  <c:v>41974</c:v>
                </c:pt>
                <c:pt idx="240">
                  <c:v>42005</c:v>
                </c:pt>
                <c:pt idx="241">
                  <c:v>42036</c:v>
                </c:pt>
                <c:pt idx="242">
                  <c:v>42064</c:v>
                </c:pt>
                <c:pt idx="243">
                  <c:v>42095</c:v>
                </c:pt>
                <c:pt idx="244">
                  <c:v>42125</c:v>
                </c:pt>
                <c:pt idx="245">
                  <c:v>42156</c:v>
                </c:pt>
                <c:pt idx="246">
                  <c:v>42186</c:v>
                </c:pt>
                <c:pt idx="247">
                  <c:v>42217</c:v>
                </c:pt>
                <c:pt idx="248">
                  <c:v>42248</c:v>
                </c:pt>
                <c:pt idx="249">
                  <c:v>42278</c:v>
                </c:pt>
                <c:pt idx="250">
                  <c:v>42309</c:v>
                </c:pt>
                <c:pt idx="251">
                  <c:v>42339</c:v>
                </c:pt>
                <c:pt idx="252">
                  <c:v>42370</c:v>
                </c:pt>
                <c:pt idx="253">
                  <c:v>42401</c:v>
                </c:pt>
                <c:pt idx="254">
                  <c:v>42430</c:v>
                </c:pt>
                <c:pt idx="255">
                  <c:v>42461</c:v>
                </c:pt>
                <c:pt idx="256">
                  <c:v>42491</c:v>
                </c:pt>
                <c:pt idx="257">
                  <c:v>42522</c:v>
                </c:pt>
                <c:pt idx="258">
                  <c:v>42552</c:v>
                </c:pt>
                <c:pt idx="259">
                  <c:v>42583</c:v>
                </c:pt>
                <c:pt idx="260">
                  <c:v>42614</c:v>
                </c:pt>
                <c:pt idx="261">
                  <c:v>42644</c:v>
                </c:pt>
                <c:pt idx="262">
                  <c:v>42675</c:v>
                </c:pt>
                <c:pt idx="263">
                  <c:v>42705</c:v>
                </c:pt>
                <c:pt idx="264">
                  <c:v>42736</c:v>
                </c:pt>
                <c:pt idx="265">
                  <c:v>42767</c:v>
                </c:pt>
                <c:pt idx="266">
                  <c:v>42795</c:v>
                </c:pt>
                <c:pt idx="267">
                  <c:v>42826</c:v>
                </c:pt>
                <c:pt idx="268">
                  <c:v>42856</c:v>
                </c:pt>
                <c:pt idx="269">
                  <c:v>42887</c:v>
                </c:pt>
                <c:pt idx="270">
                  <c:v>42917</c:v>
                </c:pt>
                <c:pt idx="271">
                  <c:v>42948</c:v>
                </c:pt>
                <c:pt idx="272">
                  <c:v>42979</c:v>
                </c:pt>
                <c:pt idx="273">
                  <c:v>43009</c:v>
                </c:pt>
                <c:pt idx="274">
                  <c:v>43040</c:v>
                </c:pt>
                <c:pt idx="275">
                  <c:v>43070</c:v>
                </c:pt>
                <c:pt idx="276">
                  <c:v>43101</c:v>
                </c:pt>
                <c:pt idx="277">
                  <c:v>43132</c:v>
                </c:pt>
                <c:pt idx="278">
                  <c:v>43160</c:v>
                </c:pt>
                <c:pt idx="279">
                  <c:v>43191</c:v>
                </c:pt>
                <c:pt idx="280">
                  <c:v>43221</c:v>
                </c:pt>
                <c:pt idx="281">
                  <c:v>43252</c:v>
                </c:pt>
                <c:pt idx="282">
                  <c:v>43282</c:v>
                </c:pt>
                <c:pt idx="283">
                  <c:v>43313</c:v>
                </c:pt>
                <c:pt idx="284">
                  <c:v>43344</c:v>
                </c:pt>
                <c:pt idx="285">
                  <c:v>43374</c:v>
                </c:pt>
                <c:pt idx="286">
                  <c:v>43405</c:v>
                </c:pt>
                <c:pt idx="287">
                  <c:v>43435</c:v>
                </c:pt>
                <c:pt idx="288">
                  <c:v>43466</c:v>
                </c:pt>
                <c:pt idx="289">
                  <c:v>43497</c:v>
                </c:pt>
                <c:pt idx="290">
                  <c:v>43525</c:v>
                </c:pt>
                <c:pt idx="291">
                  <c:v>43556</c:v>
                </c:pt>
                <c:pt idx="292">
                  <c:v>43586</c:v>
                </c:pt>
                <c:pt idx="293">
                  <c:v>43617</c:v>
                </c:pt>
                <c:pt idx="294">
                  <c:v>43647</c:v>
                </c:pt>
                <c:pt idx="295">
                  <c:v>43678</c:v>
                </c:pt>
                <c:pt idx="296">
                  <c:v>43709</c:v>
                </c:pt>
                <c:pt idx="297">
                  <c:v>43739</c:v>
                </c:pt>
                <c:pt idx="298">
                  <c:v>43770</c:v>
                </c:pt>
                <c:pt idx="299">
                  <c:v>43800</c:v>
                </c:pt>
                <c:pt idx="300">
                  <c:v>43831</c:v>
                </c:pt>
                <c:pt idx="301">
                  <c:v>43862</c:v>
                </c:pt>
                <c:pt idx="302">
                  <c:v>43891</c:v>
                </c:pt>
                <c:pt idx="303">
                  <c:v>43922</c:v>
                </c:pt>
                <c:pt idx="304">
                  <c:v>43952</c:v>
                </c:pt>
                <c:pt idx="305">
                  <c:v>43983</c:v>
                </c:pt>
                <c:pt idx="306">
                  <c:v>44013</c:v>
                </c:pt>
                <c:pt idx="307">
                  <c:v>44044</c:v>
                </c:pt>
                <c:pt idx="308">
                  <c:v>44075</c:v>
                </c:pt>
                <c:pt idx="309">
                  <c:v>44105</c:v>
                </c:pt>
                <c:pt idx="310">
                  <c:v>44136</c:v>
                </c:pt>
                <c:pt idx="311">
                  <c:v>44166</c:v>
                </c:pt>
                <c:pt idx="312">
                  <c:v>44197</c:v>
                </c:pt>
                <c:pt idx="313">
                  <c:v>44228</c:v>
                </c:pt>
                <c:pt idx="314">
                  <c:v>44256</c:v>
                </c:pt>
                <c:pt idx="315">
                  <c:v>44287</c:v>
                </c:pt>
                <c:pt idx="316">
                  <c:v>44317</c:v>
                </c:pt>
                <c:pt idx="317">
                  <c:v>44348</c:v>
                </c:pt>
                <c:pt idx="318">
                  <c:v>44378</c:v>
                </c:pt>
                <c:pt idx="319">
                  <c:v>44409</c:v>
                </c:pt>
                <c:pt idx="320">
                  <c:v>44440</c:v>
                </c:pt>
                <c:pt idx="321">
                  <c:v>44470</c:v>
                </c:pt>
                <c:pt idx="322">
                  <c:v>44501</c:v>
                </c:pt>
                <c:pt idx="323">
                  <c:v>44531</c:v>
                </c:pt>
                <c:pt idx="324">
                  <c:v>44562</c:v>
                </c:pt>
                <c:pt idx="325">
                  <c:v>44593</c:v>
                </c:pt>
                <c:pt idx="326">
                  <c:v>44621</c:v>
                </c:pt>
                <c:pt idx="327">
                  <c:v>44652</c:v>
                </c:pt>
                <c:pt idx="328">
                  <c:v>44682</c:v>
                </c:pt>
                <c:pt idx="329">
                  <c:v>44713</c:v>
                </c:pt>
                <c:pt idx="330">
                  <c:v>44743</c:v>
                </c:pt>
                <c:pt idx="331">
                  <c:v>44774</c:v>
                </c:pt>
                <c:pt idx="332">
                  <c:v>44805</c:v>
                </c:pt>
                <c:pt idx="333">
                  <c:v>44835</c:v>
                </c:pt>
                <c:pt idx="334">
                  <c:v>44866</c:v>
                </c:pt>
                <c:pt idx="335">
                  <c:v>44896</c:v>
                </c:pt>
                <c:pt idx="336">
                  <c:v>44927</c:v>
                </c:pt>
                <c:pt idx="337">
                  <c:v>44958</c:v>
                </c:pt>
                <c:pt idx="338">
                  <c:v>44986</c:v>
                </c:pt>
                <c:pt idx="339">
                  <c:v>45017</c:v>
                </c:pt>
                <c:pt idx="340">
                  <c:v>45047</c:v>
                </c:pt>
                <c:pt idx="341">
                  <c:v>45078</c:v>
                </c:pt>
                <c:pt idx="342">
                  <c:v>45108</c:v>
                </c:pt>
                <c:pt idx="343">
                  <c:v>45139</c:v>
                </c:pt>
                <c:pt idx="344">
                  <c:v>45170</c:v>
                </c:pt>
                <c:pt idx="345">
                  <c:v>45200</c:v>
                </c:pt>
                <c:pt idx="346">
                  <c:v>45231</c:v>
                </c:pt>
                <c:pt idx="347">
                  <c:v>45261</c:v>
                </c:pt>
              </c:numCache>
            </c:numRef>
          </c:cat>
          <c:val>
            <c:numRef>
              <c:f>'m3 kausi'!$E$5:$E$352</c:f>
              <c:numCache>
                <c:formatCode>General</c:formatCode>
                <c:ptCount val="348"/>
                <c:pt idx="0">
                  <c:v>2431747</c:v>
                </c:pt>
                <c:pt idx="1">
                  <c:v>2431747</c:v>
                </c:pt>
                <c:pt idx="2">
                  <c:v>2431747</c:v>
                </c:pt>
                <c:pt idx="3">
                  <c:v>2431747</c:v>
                </c:pt>
                <c:pt idx="4">
                  <c:v>2431747</c:v>
                </c:pt>
                <c:pt idx="5">
                  <c:v>2431747</c:v>
                </c:pt>
                <c:pt idx="6">
                  <c:v>2431747</c:v>
                </c:pt>
                <c:pt idx="7">
                  <c:v>2431747</c:v>
                </c:pt>
                <c:pt idx="8">
                  <c:v>2431747</c:v>
                </c:pt>
                <c:pt idx="9">
                  <c:v>2431747</c:v>
                </c:pt>
                <c:pt idx="10">
                  <c:v>2431747</c:v>
                </c:pt>
                <c:pt idx="11">
                  <c:v>2431747</c:v>
                </c:pt>
                <c:pt idx="12">
                  <c:v>2431747</c:v>
                </c:pt>
                <c:pt idx="13">
                  <c:v>2431747</c:v>
                </c:pt>
                <c:pt idx="14">
                  <c:v>2431747</c:v>
                </c:pt>
                <c:pt idx="15">
                  <c:v>2431747</c:v>
                </c:pt>
                <c:pt idx="16">
                  <c:v>2431747</c:v>
                </c:pt>
                <c:pt idx="17">
                  <c:v>2431747</c:v>
                </c:pt>
                <c:pt idx="18">
                  <c:v>2431747</c:v>
                </c:pt>
                <c:pt idx="19">
                  <c:v>2431747</c:v>
                </c:pt>
                <c:pt idx="20">
                  <c:v>2431747</c:v>
                </c:pt>
                <c:pt idx="21">
                  <c:v>2431747</c:v>
                </c:pt>
                <c:pt idx="22">
                  <c:v>2431747</c:v>
                </c:pt>
                <c:pt idx="23">
                  <c:v>2431747</c:v>
                </c:pt>
                <c:pt idx="24">
                  <c:v>2431747</c:v>
                </c:pt>
                <c:pt idx="25">
                  <c:v>2431747</c:v>
                </c:pt>
                <c:pt idx="26">
                  <c:v>2431747</c:v>
                </c:pt>
                <c:pt idx="27">
                  <c:v>2431747</c:v>
                </c:pt>
                <c:pt idx="28">
                  <c:v>2431747</c:v>
                </c:pt>
                <c:pt idx="29">
                  <c:v>2431747</c:v>
                </c:pt>
                <c:pt idx="30">
                  <c:v>2431747</c:v>
                </c:pt>
                <c:pt idx="31">
                  <c:v>2431747</c:v>
                </c:pt>
                <c:pt idx="32">
                  <c:v>2431747</c:v>
                </c:pt>
                <c:pt idx="33">
                  <c:v>2431747</c:v>
                </c:pt>
                <c:pt idx="34">
                  <c:v>2431747</c:v>
                </c:pt>
                <c:pt idx="35">
                  <c:v>2431747</c:v>
                </c:pt>
                <c:pt idx="36">
                  <c:v>2431747</c:v>
                </c:pt>
                <c:pt idx="37">
                  <c:v>2431747</c:v>
                </c:pt>
                <c:pt idx="38">
                  <c:v>2431747</c:v>
                </c:pt>
                <c:pt idx="39">
                  <c:v>2431747</c:v>
                </c:pt>
                <c:pt idx="40">
                  <c:v>2431747</c:v>
                </c:pt>
                <c:pt idx="41">
                  <c:v>2431747</c:v>
                </c:pt>
                <c:pt idx="42">
                  <c:v>2431747</c:v>
                </c:pt>
                <c:pt idx="43">
                  <c:v>2431747</c:v>
                </c:pt>
                <c:pt idx="44">
                  <c:v>2431747</c:v>
                </c:pt>
                <c:pt idx="45">
                  <c:v>2431747</c:v>
                </c:pt>
                <c:pt idx="46">
                  <c:v>2431747</c:v>
                </c:pt>
                <c:pt idx="47">
                  <c:v>2431747</c:v>
                </c:pt>
                <c:pt idx="48">
                  <c:v>2431747</c:v>
                </c:pt>
                <c:pt idx="49">
                  <c:v>2431747</c:v>
                </c:pt>
                <c:pt idx="50">
                  <c:v>2431747</c:v>
                </c:pt>
                <c:pt idx="51">
                  <c:v>2431747</c:v>
                </c:pt>
                <c:pt idx="52">
                  <c:v>2431747</c:v>
                </c:pt>
                <c:pt idx="53">
                  <c:v>2431747</c:v>
                </c:pt>
                <c:pt idx="54">
                  <c:v>2431747</c:v>
                </c:pt>
                <c:pt idx="55">
                  <c:v>2431747</c:v>
                </c:pt>
                <c:pt idx="56">
                  <c:v>2431747</c:v>
                </c:pt>
                <c:pt idx="57">
                  <c:v>2431747</c:v>
                </c:pt>
                <c:pt idx="58">
                  <c:v>2431747</c:v>
                </c:pt>
                <c:pt idx="59">
                  <c:v>2431747</c:v>
                </c:pt>
                <c:pt idx="60">
                  <c:v>2431747</c:v>
                </c:pt>
                <c:pt idx="61">
                  <c:v>2431747</c:v>
                </c:pt>
                <c:pt idx="62">
                  <c:v>2431747</c:v>
                </c:pt>
                <c:pt idx="63">
                  <c:v>2431747</c:v>
                </c:pt>
                <c:pt idx="64">
                  <c:v>2431747</c:v>
                </c:pt>
                <c:pt idx="65">
                  <c:v>2431747</c:v>
                </c:pt>
                <c:pt idx="66">
                  <c:v>2431747</c:v>
                </c:pt>
                <c:pt idx="67">
                  <c:v>2431747</c:v>
                </c:pt>
                <c:pt idx="68">
                  <c:v>2431747</c:v>
                </c:pt>
                <c:pt idx="69">
                  <c:v>2431747</c:v>
                </c:pt>
                <c:pt idx="70">
                  <c:v>2431747</c:v>
                </c:pt>
                <c:pt idx="71">
                  <c:v>2431747</c:v>
                </c:pt>
                <c:pt idx="72">
                  <c:v>2431747</c:v>
                </c:pt>
                <c:pt idx="73">
                  <c:v>2431747</c:v>
                </c:pt>
                <c:pt idx="74">
                  <c:v>2431747</c:v>
                </c:pt>
                <c:pt idx="75">
                  <c:v>2431747</c:v>
                </c:pt>
                <c:pt idx="76">
                  <c:v>2431747</c:v>
                </c:pt>
                <c:pt idx="77">
                  <c:v>2431747</c:v>
                </c:pt>
                <c:pt idx="78">
                  <c:v>2431747</c:v>
                </c:pt>
                <c:pt idx="79">
                  <c:v>2431747</c:v>
                </c:pt>
                <c:pt idx="80">
                  <c:v>2431747</c:v>
                </c:pt>
                <c:pt idx="81">
                  <c:v>2431747</c:v>
                </c:pt>
                <c:pt idx="82">
                  <c:v>2431747</c:v>
                </c:pt>
                <c:pt idx="83">
                  <c:v>2431747</c:v>
                </c:pt>
                <c:pt idx="84">
                  <c:v>2431747</c:v>
                </c:pt>
                <c:pt idx="85">
                  <c:v>2431747</c:v>
                </c:pt>
                <c:pt idx="86">
                  <c:v>2431747</c:v>
                </c:pt>
                <c:pt idx="87">
                  <c:v>2431747</c:v>
                </c:pt>
                <c:pt idx="88">
                  <c:v>2431747</c:v>
                </c:pt>
                <c:pt idx="89">
                  <c:v>2431747</c:v>
                </c:pt>
                <c:pt idx="90">
                  <c:v>2431747</c:v>
                </c:pt>
                <c:pt idx="91">
                  <c:v>2431747</c:v>
                </c:pt>
                <c:pt idx="92">
                  <c:v>2431747</c:v>
                </c:pt>
                <c:pt idx="93">
                  <c:v>2431747</c:v>
                </c:pt>
                <c:pt idx="94">
                  <c:v>2431747</c:v>
                </c:pt>
                <c:pt idx="95">
                  <c:v>2431747</c:v>
                </c:pt>
                <c:pt idx="96">
                  <c:v>2431747</c:v>
                </c:pt>
                <c:pt idx="97">
                  <c:v>2431747</c:v>
                </c:pt>
                <c:pt idx="98">
                  <c:v>2431747</c:v>
                </c:pt>
                <c:pt idx="99">
                  <c:v>2431747</c:v>
                </c:pt>
                <c:pt idx="100">
                  <c:v>2431747</c:v>
                </c:pt>
                <c:pt idx="101">
                  <c:v>2431747</c:v>
                </c:pt>
                <c:pt idx="102">
                  <c:v>2431747</c:v>
                </c:pt>
                <c:pt idx="103">
                  <c:v>2431747</c:v>
                </c:pt>
                <c:pt idx="104">
                  <c:v>2431747</c:v>
                </c:pt>
                <c:pt idx="105">
                  <c:v>2431747</c:v>
                </c:pt>
                <c:pt idx="106">
                  <c:v>2431747</c:v>
                </c:pt>
                <c:pt idx="107">
                  <c:v>2431747</c:v>
                </c:pt>
                <c:pt idx="108">
                  <c:v>2431747</c:v>
                </c:pt>
                <c:pt idx="109">
                  <c:v>2431747</c:v>
                </c:pt>
                <c:pt idx="110">
                  <c:v>2431747</c:v>
                </c:pt>
                <c:pt idx="111">
                  <c:v>2431747</c:v>
                </c:pt>
                <c:pt idx="112">
                  <c:v>2431747</c:v>
                </c:pt>
                <c:pt idx="113">
                  <c:v>2431747</c:v>
                </c:pt>
                <c:pt idx="114">
                  <c:v>2431747</c:v>
                </c:pt>
                <c:pt idx="115">
                  <c:v>2431747</c:v>
                </c:pt>
                <c:pt idx="116">
                  <c:v>2431747</c:v>
                </c:pt>
                <c:pt idx="117">
                  <c:v>2431747</c:v>
                </c:pt>
                <c:pt idx="118">
                  <c:v>2431747</c:v>
                </c:pt>
                <c:pt idx="119">
                  <c:v>2431747</c:v>
                </c:pt>
                <c:pt idx="120">
                  <c:v>2431747</c:v>
                </c:pt>
                <c:pt idx="121">
                  <c:v>2431747</c:v>
                </c:pt>
                <c:pt idx="122">
                  <c:v>2431747</c:v>
                </c:pt>
                <c:pt idx="123">
                  <c:v>2431747</c:v>
                </c:pt>
                <c:pt idx="124">
                  <c:v>2431747</c:v>
                </c:pt>
                <c:pt idx="125">
                  <c:v>2431747</c:v>
                </c:pt>
                <c:pt idx="126">
                  <c:v>2431747</c:v>
                </c:pt>
                <c:pt idx="127">
                  <c:v>2431747</c:v>
                </c:pt>
                <c:pt idx="128">
                  <c:v>2431747</c:v>
                </c:pt>
                <c:pt idx="129">
                  <c:v>2431747</c:v>
                </c:pt>
                <c:pt idx="130">
                  <c:v>2431747</c:v>
                </c:pt>
                <c:pt idx="131">
                  <c:v>2431747</c:v>
                </c:pt>
                <c:pt idx="132">
                  <c:v>2431747</c:v>
                </c:pt>
                <c:pt idx="133">
                  <c:v>2431747</c:v>
                </c:pt>
                <c:pt idx="134">
                  <c:v>2431747</c:v>
                </c:pt>
                <c:pt idx="135">
                  <c:v>2431747</c:v>
                </c:pt>
                <c:pt idx="136">
                  <c:v>2431747</c:v>
                </c:pt>
                <c:pt idx="137">
                  <c:v>2431747</c:v>
                </c:pt>
                <c:pt idx="138">
                  <c:v>2431747</c:v>
                </c:pt>
                <c:pt idx="139">
                  <c:v>2431747</c:v>
                </c:pt>
                <c:pt idx="140">
                  <c:v>2431747</c:v>
                </c:pt>
                <c:pt idx="141">
                  <c:v>2431747</c:v>
                </c:pt>
                <c:pt idx="142">
                  <c:v>2431747</c:v>
                </c:pt>
                <c:pt idx="143">
                  <c:v>2431747</c:v>
                </c:pt>
                <c:pt idx="144">
                  <c:v>2431747</c:v>
                </c:pt>
                <c:pt idx="145">
                  <c:v>2431747</c:v>
                </c:pt>
                <c:pt idx="146">
                  <c:v>2431747</c:v>
                </c:pt>
                <c:pt idx="147">
                  <c:v>2431747</c:v>
                </c:pt>
                <c:pt idx="148">
                  <c:v>2431747</c:v>
                </c:pt>
                <c:pt idx="149">
                  <c:v>2431747</c:v>
                </c:pt>
                <c:pt idx="150">
                  <c:v>2431747</c:v>
                </c:pt>
                <c:pt idx="151">
                  <c:v>2431747</c:v>
                </c:pt>
                <c:pt idx="152">
                  <c:v>2431747</c:v>
                </c:pt>
                <c:pt idx="153">
                  <c:v>2431747</c:v>
                </c:pt>
                <c:pt idx="154">
                  <c:v>2431747</c:v>
                </c:pt>
                <c:pt idx="155">
                  <c:v>2431747</c:v>
                </c:pt>
                <c:pt idx="156">
                  <c:v>2431747</c:v>
                </c:pt>
                <c:pt idx="157">
                  <c:v>2431747</c:v>
                </c:pt>
                <c:pt idx="158">
                  <c:v>2431747</c:v>
                </c:pt>
                <c:pt idx="159">
                  <c:v>2431747</c:v>
                </c:pt>
                <c:pt idx="160">
                  <c:v>2431747</c:v>
                </c:pt>
                <c:pt idx="161">
                  <c:v>2431747</c:v>
                </c:pt>
                <c:pt idx="162">
                  <c:v>2431747</c:v>
                </c:pt>
                <c:pt idx="163">
                  <c:v>2431747</c:v>
                </c:pt>
                <c:pt idx="164">
                  <c:v>2431747</c:v>
                </c:pt>
                <c:pt idx="165">
                  <c:v>2431747</c:v>
                </c:pt>
                <c:pt idx="166">
                  <c:v>2431747</c:v>
                </c:pt>
                <c:pt idx="167">
                  <c:v>2431747</c:v>
                </c:pt>
                <c:pt idx="168">
                  <c:v>2431747</c:v>
                </c:pt>
                <c:pt idx="169">
                  <c:v>2431747</c:v>
                </c:pt>
                <c:pt idx="170">
                  <c:v>2431747</c:v>
                </c:pt>
                <c:pt idx="171">
                  <c:v>2431747</c:v>
                </c:pt>
                <c:pt idx="172">
                  <c:v>2431747</c:v>
                </c:pt>
                <c:pt idx="173">
                  <c:v>2431747</c:v>
                </c:pt>
                <c:pt idx="174">
                  <c:v>2431747</c:v>
                </c:pt>
                <c:pt idx="175">
                  <c:v>2431747</c:v>
                </c:pt>
                <c:pt idx="176">
                  <c:v>2431747</c:v>
                </c:pt>
                <c:pt idx="177">
                  <c:v>2431747</c:v>
                </c:pt>
                <c:pt idx="178">
                  <c:v>2431747</c:v>
                </c:pt>
                <c:pt idx="179">
                  <c:v>2431747</c:v>
                </c:pt>
                <c:pt idx="180">
                  <c:v>2431747</c:v>
                </c:pt>
                <c:pt idx="181">
                  <c:v>2431747</c:v>
                </c:pt>
                <c:pt idx="182">
                  <c:v>2431747</c:v>
                </c:pt>
                <c:pt idx="183">
                  <c:v>2431747</c:v>
                </c:pt>
                <c:pt idx="184">
                  <c:v>2431747</c:v>
                </c:pt>
                <c:pt idx="185">
                  <c:v>2431747</c:v>
                </c:pt>
                <c:pt idx="186">
                  <c:v>2431747</c:v>
                </c:pt>
                <c:pt idx="187">
                  <c:v>2431747</c:v>
                </c:pt>
                <c:pt idx="188">
                  <c:v>2431747</c:v>
                </c:pt>
                <c:pt idx="189">
                  <c:v>2431747</c:v>
                </c:pt>
                <c:pt idx="190">
                  <c:v>2431747</c:v>
                </c:pt>
                <c:pt idx="191">
                  <c:v>2431747</c:v>
                </c:pt>
                <c:pt idx="192">
                  <c:v>2431747</c:v>
                </c:pt>
                <c:pt idx="193">
                  <c:v>2431747</c:v>
                </c:pt>
                <c:pt idx="194">
                  <c:v>2431747</c:v>
                </c:pt>
                <c:pt idx="195">
                  <c:v>2431747</c:v>
                </c:pt>
                <c:pt idx="196">
                  <c:v>2431747</c:v>
                </c:pt>
                <c:pt idx="197">
                  <c:v>2431747</c:v>
                </c:pt>
                <c:pt idx="198">
                  <c:v>2431747</c:v>
                </c:pt>
                <c:pt idx="199">
                  <c:v>2431747</c:v>
                </c:pt>
                <c:pt idx="200">
                  <c:v>2431747</c:v>
                </c:pt>
                <c:pt idx="201">
                  <c:v>2431747</c:v>
                </c:pt>
                <c:pt idx="202">
                  <c:v>2431747</c:v>
                </c:pt>
                <c:pt idx="203">
                  <c:v>2431747</c:v>
                </c:pt>
                <c:pt idx="204">
                  <c:v>2431747</c:v>
                </c:pt>
                <c:pt idx="205">
                  <c:v>2431747</c:v>
                </c:pt>
                <c:pt idx="206">
                  <c:v>2431747</c:v>
                </c:pt>
                <c:pt idx="207">
                  <c:v>2431747</c:v>
                </c:pt>
                <c:pt idx="208">
                  <c:v>2431747</c:v>
                </c:pt>
                <c:pt idx="209">
                  <c:v>2431747</c:v>
                </c:pt>
                <c:pt idx="210">
                  <c:v>2431747</c:v>
                </c:pt>
                <c:pt idx="211">
                  <c:v>2431747</c:v>
                </c:pt>
                <c:pt idx="212">
                  <c:v>2431747</c:v>
                </c:pt>
                <c:pt idx="213">
                  <c:v>2431747</c:v>
                </c:pt>
                <c:pt idx="214">
                  <c:v>2431747</c:v>
                </c:pt>
                <c:pt idx="215">
                  <c:v>2431747</c:v>
                </c:pt>
                <c:pt idx="216">
                  <c:v>2431747</c:v>
                </c:pt>
                <c:pt idx="217">
                  <c:v>2431747</c:v>
                </c:pt>
                <c:pt idx="218">
                  <c:v>2431747</c:v>
                </c:pt>
                <c:pt idx="219">
                  <c:v>2431747</c:v>
                </c:pt>
                <c:pt idx="220">
                  <c:v>2431747</c:v>
                </c:pt>
                <c:pt idx="221">
                  <c:v>2431747</c:v>
                </c:pt>
                <c:pt idx="222">
                  <c:v>2431747</c:v>
                </c:pt>
                <c:pt idx="223">
                  <c:v>2431747</c:v>
                </c:pt>
                <c:pt idx="224">
                  <c:v>2431747</c:v>
                </c:pt>
                <c:pt idx="225">
                  <c:v>2431747</c:v>
                </c:pt>
                <c:pt idx="226">
                  <c:v>2431747</c:v>
                </c:pt>
                <c:pt idx="227">
                  <c:v>2431747</c:v>
                </c:pt>
                <c:pt idx="228">
                  <c:v>2431747</c:v>
                </c:pt>
                <c:pt idx="229">
                  <c:v>2431747</c:v>
                </c:pt>
                <c:pt idx="230">
                  <c:v>2431747</c:v>
                </c:pt>
                <c:pt idx="231">
                  <c:v>2431747</c:v>
                </c:pt>
                <c:pt idx="232">
                  <c:v>2431747</c:v>
                </c:pt>
                <c:pt idx="233">
                  <c:v>2431747</c:v>
                </c:pt>
                <c:pt idx="234">
                  <c:v>2431747</c:v>
                </c:pt>
                <c:pt idx="235">
                  <c:v>2431747</c:v>
                </c:pt>
                <c:pt idx="236">
                  <c:v>2431747</c:v>
                </c:pt>
                <c:pt idx="237">
                  <c:v>2431747</c:v>
                </c:pt>
                <c:pt idx="238">
                  <c:v>2431747</c:v>
                </c:pt>
                <c:pt idx="239">
                  <c:v>2431747</c:v>
                </c:pt>
                <c:pt idx="240">
                  <c:v>2431747</c:v>
                </c:pt>
                <c:pt idx="241">
                  <c:v>2431747</c:v>
                </c:pt>
                <c:pt idx="242">
                  <c:v>2431747</c:v>
                </c:pt>
                <c:pt idx="243">
                  <c:v>2431747</c:v>
                </c:pt>
                <c:pt idx="244">
                  <c:v>2431747</c:v>
                </c:pt>
                <c:pt idx="245">
                  <c:v>2431747</c:v>
                </c:pt>
                <c:pt idx="246">
                  <c:v>2431747</c:v>
                </c:pt>
                <c:pt idx="247">
                  <c:v>2431747</c:v>
                </c:pt>
                <c:pt idx="248">
                  <c:v>2431747</c:v>
                </c:pt>
                <c:pt idx="249">
                  <c:v>2431747</c:v>
                </c:pt>
                <c:pt idx="250">
                  <c:v>2431747</c:v>
                </c:pt>
                <c:pt idx="251">
                  <c:v>2431747</c:v>
                </c:pt>
                <c:pt idx="252">
                  <c:v>2431747</c:v>
                </c:pt>
                <c:pt idx="253">
                  <c:v>2431747</c:v>
                </c:pt>
                <c:pt idx="254">
                  <c:v>2431747</c:v>
                </c:pt>
                <c:pt idx="255">
                  <c:v>2431747</c:v>
                </c:pt>
                <c:pt idx="256">
                  <c:v>2431747</c:v>
                </c:pt>
                <c:pt idx="257">
                  <c:v>2431747</c:v>
                </c:pt>
                <c:pt idx="258">
                  <c:v>2431747</c:v>
                </c:pt>
                <c:pt idx="259">
                  <c:v>2431747</c:v>
                </c:pt>
                <c:pt idx="260">
                  <c:v>2431747</c:v>
                </c:pt>
                <c:pt idx="261">
                  <c:v>2431747</c:v>
                </c:pt>
                <c:pt idx="262">
                  <c:v>2431747</c:v>
                </c:pt>
                <c:pt idx="263">
                  <c:v>2431747</c:v>
                </c:pt>
                <c:pt idx="264">
                  <c:v>2431747</c:v>
                </c:pt>
                <c:pt idx="265">
                  <c:v>2431747</c:v>
                </c:pt>
                <c:pt idx="266">
                  <c:v>2431747</c:v>
                </c:pt>
                <c:pt idx="267">
                  <c:v>2431747</c:v>
                </c:pt>
                <c:pt idx="268">
                  <c:v>2431747</c:v>
                </c:pt>
                <c:pt idx="269">
                  <c:v>2431747</c:v>
                </c:pt>
                <c:pt idx="270">
                  <c:v>2431747</c:v>
                </c:pt>
                <c:pt idx="271">
                  <c:v>2431747</c:v>
                </c:pt>
                <c:pt idx="272">
                  <c:v>2431747</c:v>
                </c:pt>
                <c:pt idx="273">
                  <c:v>2431747</c:v>
                </c:pt>
                <c:pt idx="274">
                  <c:v>2431747</c:v>
                </c:pt>
                <c:pt idx="275">
                  <c:v>2431747</c:v>
                </c:pt>
                <c:pt idx="276">
                  <c:v>2431747</c:v>
                </c:pt>
                <c:pt idx="277">
                  <c:v>2431747</c:v>
                </c:pt>
                <c:pt idx="278">
                  <c:v>2431747</c:v>
                </c:pt>
                <c:pt idx="279">
                  <c:v>2431747</c:v>
                </c:pt>
                <c:pt idx="280">
                  <c:v>2431747</c:v>
                </c:pt>
                <c:pt idx="281">
                  <c:v>2431747</c:v>
                </c:pt>
                <c:pt idx="282">
                  <c:v>2431747</c:v>
                </c:pt>
                <c:pt idx="283">
                  <c:v>2431747</c:v>
                </c:pt>
                <c:pt idx="284">
                  <c:v>2431747</c:v>
                </c:pt>
                <c:pt idx="285">
                  <c:v>2431747</c:v>
                </c:pt>
                <c:pt idx="286">
                  <c:v>2431747</c:v>
                </c:pt>
                <c:pt idx="287">
                  <c:v>2431747</c:v>
                </c:pt>
                <c:pt idx="288">
                  <c:v>2431747</c:v>
                </c:pt>
                <c:pt idx="289">
                  <c:v>2431747</c:v>
                </c:pt>
                <c:pt idx="290">
                  <c:v>2431747</c:v>
                </c:pt>
                <c:pt idx="291">
                  <c:v>2431747</c:v>
                </c:pt>
                <c:pt idx="292">
                  <c:v>2431747</c:v>
                </c:pt>
                <c:pt idx="293">
                  <c:v>2431747</c:v>
                </c:pt>
                <c:pt idx="294">
                  <c:v>2431747</c:v>
                </c:pt>
                <c:pt idx="295">
                  <c:v>2431747</c:v>
                </c:pt>
                <c:pt idx="296">
                  <c:v>2431747</c:v>
                </c:pt>
                <c:pt idx="297">
                  <c:v>2431747</c:v>
                </c:pt>
                <c:pt idx="298">
                  <c:v>2431747</c:v>
                </c:pt>
                <c:pt idx="299">
                  <c:v>2431747</c:v>
                </c:pt>
                <c:pt idx="300">
                  <c:v>2431747</c:v>
                </c:pt>
                <c:pt idx="301">
                  <c:v>2431747</c:v>
                </c:pt>
                <c:pt idx="302">
                  <c:v>2431747</c:v>
                </c:pt>
                <c:pt idx="303">
                  <c:v>2431747</c:v>
                </c:pt>
                <c:pt idx="304">
                  <c:v>2431747</c:v>
                </c:pt>
                <c:pt idx="305">
                  <c:v>2431747</c:v>
                </c:pt>
                <c:pt idx="306">
                  <c:v>2431747</c:v>
                </c:pt>
                <c:pt idx="307">
                  <c:v>2431747</c:v>
                </c:pt>
                <c:pt idx="308">
                  <c:v>2431747</c:v>
                </c:pt>
                <c:pt idx="309">
                  <c:v>2431747</c:v>
                </c:pt>
                <c:pt idx="310">
                  <c:v>2431747</c:v>
                </c:pt>
                <c:pt idx="311">
                  <c:v>2431747</c:v>
                </c:pt>
                <c:pt idx="312">
                  <c:v>2431747</c:v>
                </c:pt>
                <c:pt idx="313">
                  <c:v>2431747</c:v>
                </c:pt>
                <c:pt idx="314">
                  <c:v>2431747</c:v>
                </c:pt>
                <c:pt idx="315">
                  <c:v>2431747</c:v>
                </c:pt>
                <c:pt idx="316">
                  <c:v>2431747</c:v>
                </c:pt>
                <c:pt idx="317">
                  <c:v>2431747</c:v>
                </c:pt>
                <c:pt idx="318">
                  <c:v>2431747</c:v>
                </c:pt>
                <c:pt idx="319">
                  <c:v>2431747</c:v>
                </c:pt>
                <c:pt idx="320">
                  <c:v>2431747</c:v>
                </c:pt>
                <c:pt idx="321">
                  <c:v>2431747</c:v>
                </c:pt>
                <c:pt idx="322">
                  <c:v>2431747</c:v>
                </c:pt>
                <c:pt idx="323">
                  <c:v>2431747</c:v>
                </c:pt>
                <c:pt idx="324">
                  <c:v>2431747</c:v>
                </c:pt>
                <c:pt idx="325">
                  <c:v>2431747</c:v>
                </c:pt>
                <c:pt idx="326">
                  <c:v>2431747</c:v>
                </c:pt>
                <c:pt idx="327">
                  <c:v>2431747</c:v>
                </c:pt>
                <c:pt idx="328">
                  <c:v>2431747</c:v>
                </c:pt>
                <c:pt idx="329">
                  <c:v>2431747</c:v>
                </c:pt>
                <c:pt idx="330">
                  <c:v>2431747</c:v>
                </c:pt>
                <c:pt idx="331">
                  <c:v>2431747</c:v>
                </c:pt>
                <c:pt idx="332">
                  <c:v>2431747</c:v>
                </c:pt>
                <c:pt idx="333">
                  <c:v>2431747</c:v>
                </c:pt>
                <c:pt idx="334">
                  <c:v>2431747</c:v>
                </c:pt>
                <c:pt idx="335">
                  <c:v>2431747</c:v>
                </c:pt>
                <c:pt idx="336">
                  <c:v>2431747</c:v>
                </c:pt>
                <c:pt idx="337">
                  <c:v>2431747</c:v>
                </c:pt>
                <c:pt idx="338">
                  <c:v>2431747</c:v>
                </c:pt>
                <c:pt idx="339">
                  <c:v>2431747</c:v>
                </c:pt>
                <c:pt idx="340">
                  <c:v>2431747</c:v>
                </c:pt>
                <c:pt idx="341">
                  <c:v>2431747</c:v>
                </c:pt>
                <c:pt idx="342">
                  <c:v>2431747</c:v>
                </c:pt>
                <c:pt idx="343">
                  <c:v>2431747</c:v>
                </c:pt>
                <c:pt idx="344">
                  <c:v>2431747</c:v>
                </c:pt>
                <c:pt idx="345">
                  <c:v>2431747</c:v>
                </c:pt>
                <c:pt idx="346">
                  <c:v>2431747</c:v>
                </c:pt>
                <c:pt idx="347">
                  <c:v>24317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F76-49E0-AC3A-916D1FB125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83916480"/>
        <c:axId val="883917136"/>
      </c:lineChart>
      <c:dateAx>
        <c:axId val="883916480"/>
        <c:scaling>
          <c:orientation val="minMax"/>
          <c:max val="45261"/>
        </c:scaling>
        <c:delete val="0"/>
        <c:axPos val="b"/>
        <c:numFmt formatCode="yy" sourceLinked="0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883917136"/>
        <c:crosses val="autoZero"/>
        <c:auto val="1"/>
        <c:lblOffset val="100"/>
        <c:baseTimeUnit val="months"/>
        <c:majorUnit val="12"/>
        <c:majorTimeUnit val="months"/>
      </c:dateAx>
      <c:valAx>
        <c:axId val="883917136"/>
        <c:scaling>
          <c:orientation val="minMax"/>
          <c:max val="7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883916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19717238953378247"/>
          <c:y val="0.94193613422788725"/>
          <c:w val="0.61023694203173051"/>
          <c:h val="5.80638657721127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fi-FI" sz="900" b="0" i="0" u="none" strike="noStrike" kern="1200" cap="none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fi-FI" sz="900" b="0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Väestön muutos vuoteen 2040 (%)</a:t>
            </a:r>
          </a:p>
        </c:rich>
      </c:tx>
      <c:layout>
        <c:manualLayout>
          <c:xMode val="edge"/>
          <c:yMode val="edge"/>
          <c:x val="0.12423065958072302"/>
          <c:y val="7.15434487287617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i-FI" sz="900" b="0" i="0" u="none" strike="noStrike" kern="1200" cap="none" spc="0" baseline="0" dirty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0.14265870711352643"/>
          <c:y val="0.12084109682528441"/>
          <c:w val="0.75777259589281276"/>
          <c:h val="0.7970955633816418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2060"/>
            </a:solidFill>
            <a:ln w="25400" cap="flat" cmpd="sng" algn="ctr">
              <a:solidFill>
                <a:srgbClr val="002060"/>
              </a:solidFill>
              <a:miter lim="800000"/>
            </a:ln>
            <a:effectLst/>
          </c:spPr>
          <c:invertIfNegative val="0"/>
          <c:val>
            <c:numRef>
              <c:f>'[asuntokunnat ja väestö 2030 ja 2040 .xlsx]2040'!$D$6:$D$317</c:f>
              <c:numCache>
                <c:formatCode>0%</c:formatCode>
                <c:ptCount val="312"/>
                <c:pt idx="0">
                  <c:v>-0.35741088180112568</c:v>
                </c:pt>
                <c:pt idx="1">
                  <c:v>-0.34014026402640263</c:v>
                </c:pt>
                <c:pt idx="2">
                  <c:v>-0.3366336633663366</c:v>
                </c:pt>
                <c:pt idx="3">
                  <c:v>-0.33276812208562956</c:v>
                </c:pt>
                <c:pt idx="4">
                  <c:v>-0.32820097244732582</c:v>
                </c:pt>
                <c:pt idx="5">
                  <c:v>-0.31927710843373491</c:v>
                </c:pt>
                <c:pt idx="6">
                  <c:v>-0.31718259309107222</c:v>
                </c:pt>
                <c:pt idx="7">
                  <c:v>-0.30666003976143141</c:v>
                </c:pt>
                <c:pt idx="8">
                  <c:v>-0.30595269040811024</c:v>
                </c:pt>
                <c:pt idx="9">
                  <c:v>-0.30353655890648734</c:v>
                </c:pt>
                <c:pt idx="10">
                  <c:v>-0.30337512054001925</c:v>
                </c:pt>
                <c:pt idx="11">
                  <c:v>-0.29782863849765262</c:v>
                </c:pt>
                <c:pt idx="12">
                  <c:v>-0.29554903399364152</c:v>
                </c:pt>
                <c:pt idx="13">
                  <c:v>-0.29540763673890613</c:v>
                </c:pt>
                <c:pt idx="14">
                  <c:v>-0.29421518054532059</c:v>
                </c:pt>
                <c:pt idx="15">
                  <c:v>-0.28754905458437385</c:v>
                </c:pt>
                <c:pt idx="16">
                  <c:v>-0.2847100175746925</c:v>
                </c:pt>
                <c:pt idx="17">
                  <c:v>-0.28368446839784422</c:v>
                </c:pt>
                <c:pt idx="18">
                  <c:v>-0.28363636363636369</c:v>
                </c:pt>
                <c:pt idx="19">
                  <c:v>-0.28286852589641431</c:v>
                </c:pt>
                <c:pt idx="20">
                  <c:v>-0.28068091844813936</c:v>
                </c:pt>
                <c:pt idx="21">
                  <c:v>-0.27883650952858574</c:v>
                </c:pt>
                <c:pt idx="22">
                  <c:v>-0.27880318632212941</c:v>
                </c:pt>
                <c:pt idx="23">
                  <c:v>-0.27759845061329891</c:v>
                </c:pt>
                <c:pt idx="24">
                  <c:v>-0.27492877492877488</c:v>
                </c:pt>
                <c:pt idx="25">
                  <c:v>-0.27445432497978983</c:v>
                </c:pt>
                <c:pt idx="26">
                  <c:v>-0.27310344827586208</c:v>
                </c:pt>
                <c:pt idx="27">
                  <c:v>-0.27237500000000003</c:v>
                </c:pt>
                <c:pt idx="28">
                  <c:v>-0.27195866604039454</c:v>
                </c:pt>
                <c:pt idx="29">
                  <c:v>-0.27175654030966367</c:v>
                </c:pt>
                <c:pt idx="30">
                  <c:v>-0.26995884773662548</c:v>
                </c:pt>
                <c:pt idx="31">
                  <c:v>-0.26809523809523805</c:v>
                </c:pt>
                <c:pt idx="32">
                  <c:v>-0.26772922636103147</c:v>
                </c:pt>
                <c:pt idx="33">
                  <c:v>-0.26609442060085842</c:v>
                </c:pt>
                <c:pt idx="34">
                  <c:v>-0.26518771331058022</c:v>
                </c:pt>
                <c:pt idx="35">
                  <c:v>-0.26348479895390653</c:v>
                </c:pt>
                <c:pt idx="36">
                  <c:v>-0.26343926343926349</c:v>
                </c:pt>
                <c:pt idx="37">
                  <c:v>-0.26315789473684215</c:v>
                </c:pt>
                <c:pt idx="38">
                  <c:v>-0.26044083526682138</c:v>
                </c:pt>
                <c:pt idx="39">
                  <c:v>-0.25904977375565608</c:v>
                </c:pt>
                <c:pt idx="40">
                  <c:v>-0.25791190864600322</c:v>
                </c:pt>
                <c:pt idx="41">
                  <c:v>-0.25590708850620747</c:v>
                </c:pt>
                <c:pt idx="42">
                  <c:v>-0.25548961424332339</c:v>
                </c:pt>
                <c:pt idx="43">
                  <c:v>-0.25487092060399419</c:v>
                </c:pt>
                <c:pt idx="44">
                  <c:v>-0.25456836798991811</c:v>
                </c:pt>
                <c:pt idx="45">
                  <c:v>-0.25402393726784978</c:v>
                </c:pt>
                <c:pt idx="46">
                  <c:v>-0.25320250749523032</c:v>
                </c:pt>
                <c:pt idx="47">
                  <c:v>-0.25299363057324842</c:v>
                </c:pt>
                <c:pt idx="48">
                  <c:v>-0.25245901639344259</c:v>
                </c:pt>
                <c:pt idx="49">
                  <c:v>-0.25231577492050328</c:v>
                </c:pt>
                <c:pt idx="50">
                  <c:v>-0.25148605395518975</c:v>
                </c:pt>
                <c:pt idx="51">
                  <c:v>-0.25075528700906347</c:v>
                </c:pt>
                <c:pt idx="52">
                  <c:v>-0.2503683331696297</c:v>
                </c:pt>
                <c:pt idx="53">
                  <c:v>-0.24478178368121439</c:v>
                </c:pt>
                <c:pt idx="54">
                  <c:v>-0.24425226745412365</c:v>
                </c:pt>
                <c:pt idx="55">
                  <c:v>-0.24400338348136064</c:v>
                </c:pt>
                <c:pt idx="56">
                  <c:v>-0.24344654661499887</c:v>
                </c:pt>
                <c:pt idx="57">
                  <c:v>-0.24284395198522624</c:v>
                </c:pt>
                <c:pt idx="58">
                  <c:v>-0.24239951030401963</c:v>
                </c:pt>
                <c:pt idx="59">
                  <c:v>-0.2415171817592392</c:v>
                </c:pt>
                <c:pt idx="60">
                  <c:v>-0.2414275717284815</c:v>
                </c:pt>
                <c:pt idx="61">
                  <c:v>-0.24040012907389485</c:v>
                </c:pt>
                <c:pt idx="62">
                  <c:v>-0.24027339642481593</c:v>
                </c:pt>
                <c:pt idx="63">
                  <c:v>-0.23992165823404599</c:v>
                </c:pt>
                <c:pt idx="64">
                  <c:v>-0.23955431754874656</c:v>
                </c:pt>
                <c:pt idx="65">
                  <c:v>-0.23791540785498488</c:v>
                </c:pt>
                <c:pt idx="66">
                  <c:v>-0.23761194029850752</c:v>
                </c:pt>
                <c:pt idx="67">
                  <c:v>-0.23436441634680516</c:v>
                </c:pt>
                <c:pt idx="68">
                  <c:v>-0.23370722703393443</c:v>
                </c:pt>
                <c:pt idx="69">
                  <c:v>-0.23328921244209133</c:v>
                </c:pt>
                <c:pt idx="70">
                  <c:v>-0.23275777010360144</c:v>
                </c:pt>
                <c:pt idx="71">
                  <c:v>-0.23137782561894515</c:v>
                </c:pt>
                <c:pt idx="72">
                  <c:v>-0.23078926803855171</c:v>
                </c:pt>
                <c:pt idx="73">
                  <c:v>-0.23074074074074069</c:v>
                </c:pt>
                <c:pt idx="74">
                  <c:v>-0.23059532780708369</c:v>
                </c:pt>
                <c:pt idx="75">
                  <c:v>-0.22978128179043744</c:v>
                </c:pt>
                <c:pt idx="76">
                  <c:v>-0.22962226640159045</c:v>
                </c:pt>
                <c:pt idx="77">
                  <c:v>-0.22957353527301716</c:v>
                </c:pt>
                <c:pt idx="78">
                  <c:v>-0.22895927601809951</c:v>
                </c:pt>
                <c:pt idx="79">
                  <c:v>-0.22816728167281675</c:v>
                </c:pt>
                <c:pt idx="80">
                  <c:v>-0.22795611540024385</c:v>
                </c:pt>
                <c:pt idx="81">
                  <c:v>-0.22792587933620401</c:v>
                </c:pt>
                <c:pt idx="82">
                  <c:v>-0.22704743922586734</c:v>
                </c:pt>
                <c:pt idx="83">
                  <c:v>-0.22698585418933626</c:v>
                </c:pt>
                <c:pt idx="84">
                  <c:v>-0.22693079237713143</c:v>
                </c:pt>
                <c:pt idx="85">
                  <c:v>-0.22519863791146422</c:v>
                </c:pt>
                <c:pt idx="86">
                  <c:v>-0.22294372294372289</c:v>
                </c:pt>
                <c:pt idx="87">
                  <c:v>-0.21741592118672859</c:v>
                </c:pt>
                <c:pt idx="88">
                  <c:v>-0.21464519375943636</c:v>
                </c:pt>
                <c:pt idx="89">
                  <c:v>-0.21416814383388194</c:v>
                </c:pt>
                <c:pt idx="90">
                  <c:v>-0.21261089987325732</c:v>
                </c:pt>
                <c:pt idx="91">
                  <c:v>-0.21252796420581654</c:v>
                </c:pt>
                <c:pt idx="92">
                  <c:v>-0.21114864864864868</c:v>
                </c:pt>
                <c:pt idx="93">
                  <c:v>-0.21016795279164779</c:v>
                </c:pt>
                <c:pt idx="94">
                  <c:v>-0.20986902223575998</c:v>
                </c:pt>
                <c:pt idx="95">
                  <c:v>-0.20936069688468917</c:v>
                </c:pt>
                <c:pt idx="96">
                  <c:v>-0.20892575039494465</c:v>
                </c:pt>
                <c:pt idx="97">
                  <c:v>-0.20879120879120883</c:v>
                </c:pt>
                <c:pt idx="98">
                  <c:v>-0.20759575152880594</c:v>
                </c:pt>
                <c:pt idx="99">
                  <c:v>-0.20742187499999998</c:v>
                </c:pt>
                <c:pt idx="100">
                  <c:v>-0.20696843359142347</c:v>
                </c:pt>
                <c:pt idx="101">
                  <c:v>-0.20618556701030932</c:v>
                </c:pt>
                <c:pt idx="102">
                  <c:v>-0.20603720603720599</c:v>
                </c:pt>
                <c:pt idx="103">
                  <c:v>-0.20507399577167018</c:v>
                </c:pt>
                <c:pt idx="104">
                  <c:v>-0.20459704880817253</c:v>
                </c:pt>
                <c:pt idx="105">
                  <c:v>-0.2035706005100858</c:v>
                </c:pt>
                <c:pt idx="106">
                  <c:v>-0.20335195530726258</c:v>
                </c:pt>
                <c:pt idx="107">
                  <c:v>-0.20265780730897009</c:v>
                </c:pt>
                <c:pt idx="108">
                  <c:v>-0.20150610231108801</c:v>
                </c:pt>
                <c:pt idx="109">
                  <c:v>-0.20081018518518523</c:v>
                </c:pt>
                <c:pt idx="110">
                  <c:v>-0.2003634711494775</c:v>
                </c:pt>
                <c:pt idx="111">
                  <c:v>-0.19960387323943662</c:v>
                </c:pt>
                <c:pt idx="112">
                  <c:v>-0.19956850053937436</c:v>
                </c:pt>
                <c:pt idx="113">
                  <c:v>-0.19726027397260271</c:v>
                </c:pt>
                <c:pt idx="114">
                  <c:v>-0.19557834454285139</c:v>
                </c:pt>
                <c:pt idx="115">
                  <c:v>-0.19537329127234493</c:v>
                </c:pt>
                <c:pt idx="116">
                  <c:v>-0.19433631763332038</c:v>
                </c:pt>
                <c:pt idx="117">
                  <c:v>-0.19422572178477693</c:v>
                </c:pt>
                <c:pt idx="118">
                  <c:v>-0.19354838709677424</c:v>
                </c:pt>
                <c:pt idx="119">
                  <c:v>-0.19337171745541359</c:v>
                </c:pt>
                <c:pt idx="120">
                  <c:v>-0.19292570951585974</c:v>
                </c:pt>
                <c:pt idx="121">
                  <c:v>-0.19162441314553991</c:v>
                </c:pt>
                <c:pt idx="122">
                  <c:v>-0.19126054995916142</c:v>
                </c:pt>
                <c:pt idx="123">
                  <c:v>-0.1902786010669828</c:v>
                </c:pt>
                <c:pt idx="124">
                  <c:v>-0.18999999999999995</c:v>
                </c:pt>
                <c:pt idx="125">
                  <c:v>-0.18470391683682941</c:v>
                </c:pt>
                <c:pt idx="126">
                  <c:v>-0.18441721646245679</c:v>
                </c:pt>
                <c:pt idx="127">
                  <c:v>-0.18387096774193545</c:v>
                </c:pt>
                <c:pt idx="128">
                  <c:v>-0.18374100719424458</c:v>
                </c:pt>
                <c:pt idx="129">
                  <c:v>-0.18062294568790105</c:v>
                </c:pt>
                <c:pt idx="130">
                  <c:v>-0.17972439047894384</c:v>
                </c:pt>
                <c:pt idx="131">
                  <c:v>-0.17935054121565364</c:v>
                </c:pt>
                <c:pt idx="132">
                  <c:v>-0.17902615278733658</c:v>
                </c:pt>
                <c:pt idx="133">
                  <c:v>-0.17623974313235824</c:v>
                </c:pt>
                <c:pt idx="134">
                  <c:v>-0.17564062662101876</c:v>
                </c:pt>
                <c:pt idx="135">
                  <c:v>-0.1742959498457558</c:v>
                </c:pt>
                <c:pt idx="136">
                  <c:v>-0.17419104824646381</c:v>
                </c:pt>
                <c:pt idx="137">
                  <c:v>-0.17352392790553139</c:v>
                </c:pt>
                <c:pt idx="138">
                  <c:v>-0.17349999999999999</c:v>
                </c:pt>
                <c:pt idx="139">
                  <c:v>-0.17275344013019667</c:v>
                </c:pt>
                <c:pt idx="140">
                  <c:v>-0.17150211830321227</c:v>
                </c:pt>
                <c:pt idx="141">
                  <c:v>-0.16930807885581756</c:v>
                </c:pt>
                <c:pt idx="142">
                  <c:v>-0.16837983357807151</c:v>
                </c:pt>
                <c:pt idx="143">
                  <c:v>-0.16408386508659978</c:v>
                </c:pt>
                <c:pt idx="144">
                  <c:v>-0.16328435749655001</c:v>
                </c:pt>
                <c:pt idx="145">
                  <c:v>-0.16228272573450242</c:v>
                </c:pt>
                <c:pt idx="146">
                  <c:v>-0.16104481819035987</c:v>
                </c:pt>
                <c:pt idx="147">
                  <c:v>-0.1595715462784949</c:v>
                </c:pt>
                <c:pt idx="148">
                  <c:v>-0.15837104072398189</c:v>
                </c:pt>
                <c:pt idx="149">
                  <c:v>-0.15792631705268212</c:v>
                </c:pt>
                <c:pt idx="150">
                  <c:v>-0.15767634854771784</c:v>
                </c:pt>
                <c:pt idx="151">
                  <c:v>-0.15727307741686991</c:v>
                </c:pt>
                <c:pt idx="152">
                  <c:v>-0.15659068384539143</c:v>
                </c:pt>
                <c:pt idx="153">
                  <c:v>-0.15372168284789645</c:v>
                </c:pt>
                <c:pt idx="154">
                  <c:v>-0.15249329137628143</c:v>
                </c:pt>
                <c:pt idx="155">
                  <c:v>-0.15083575217695921</c:v>
                </c:pt>
                <c:pt idx="156">
                  <c:v>-0.15016920473773265</c:v>
                </c:pt>
                <c:pt idx="157">
                  <c:v>-0.14903846153846156</c:v>
                </c:pt>
                <c:pt idx="158">
                  <c:v>-0.14865878821984613</c:v>
                </c:pt>
                <c:pt idx="159">
                  <c:v>-0.14800458109417669</c:v>
                </c:pt>
                <c:pt idx="160">
                  <c:v>-0.14442518775274404</c:v>
                </c:pt>
                <c:pt idx="161">
                  <c:v>-0.14369747899159668</c:v>
                </c:pt>
                <c:pt idx="162">
                  <c:v>-0.14255499153976314</c:v>
                </c:pt>
                <c:pt idx="163">
                  <c:v>-0.14237071717386673</c:v>
                </c:pt>
                <c:pt idx="164">
                  <c:v>-0.14212360168714466</c:v>
                </c:pt>
                <c:pt idx="165">
                  <c:v>-0.13980012206286241</c:v>
                </c:pt>
                <c:pt idx="166">
                  <c:v>-0.13881489374297051</c:v>
                </c:pt>
                <c:pt idx="167">
                  <c:v>-0.1377354924075358</c:v>
                </c:pt>
                <c:pt idx="168">
                  <c:v>-0.1373600271462504</c:v>
                </c:pt>
                <c:pt idx="169">
                  <c:v>-0.1371087928464978</c:v>
                </c:pt>
                <c:pt idx="170">
                  <c:v>-0.136286594761171</c:v>
                </c:pt>
                <c:pt idx="171">
                  <c:v>-0.1342295549444954</c:v>
                </c:pt>
                <c:pt idx="172">
                  <c:v>-0.13254842385112042</c:v>
                </c:pt>
                <c:pt idx="173">
                  <c:v>-0.13162638263006965</c:v>
                </c:pt>
                <c:pt idx="174">
                  <c:v>-0.13088616981831669</c:v>
                </c:pt>
                <c:pt idx="175">
                  <c:v>-0.12913181190611545</c:v>
                </c:pt>
                <c:pt idx="176">
                  <c:v>-0.12740740740740741</c:v>
                </c:pt>
                <c:pt idx="177">
                  <c:v>-0.12720421453135289</c:v>
                </c:pt>
                <c:pt idx="178">
                  <c:v>-0.12606884455163336</c:v>
                </c:pt>
                <c:pt idx="179">
                  <c:v>-0.12509573653306105</c:v>
                </c:pt>
                <c:pt idx="180">
                  <c:v>-0.12458333333333338</c:v>
                </c:pt>
                <c:pt idx="181">
                  <c:v>-0.12454981992797121</c:v>
                </c:pt>
                <c:pt idx="182">
                  <c:v>-0.12343547690979717</c:v>
                </c:pt>
                <c:pt idx="183">
                  <c:v>-0.12255187124297073</c:v>
                </c:pt>
                <c:pt idx="184">
                  <c:v>-0.1222996913933021</c:v>
                </c:pt>
                <c:pt idx="185">
                  <c:v>-0.12222222222222223</c:v>
                </c:pt>
                <c:pt idx="186">
                  <c:v>-0.12169816458798544</c:v>
                </c:pt>
                <c:pt idx="187">
                  <c:v>-0.11968085106382975</c:v>
                </c:pt>
                <c:pt idx="188">
                  <c:v>-0.11926994906621391</c:v>
                </c:pt>
                <c:pt idx="189">
                  <c:v>-0.11730792571914073</c:v>
                </c:pt>
                <c:pt idx="190">
                  <c:v>-0.11680773881499396</c:v>
                </c:pt>
                <c:pt idx="191">
                  <c:v>-0.11591050341827225</c:v>
                </c:pt>
                <c:pt idx="192">
                  <c:v>-0.11555360281195082</c:v>
                </c:pt>
                <c:pt idx="193">
                  <c:v>-0.11454119650840966</c:v>
                </c:pt>
                <c:pt idx="194">
                  <c:v>-0.11397008055235902</c:v>
                </c:pt>
                <c:pt idx="195">
                  <c:v>-0.11368511368511369</c:v>
                </c:pt>
                <c:pt idx="196">
                  <c:v>-0.1129326047358834</c:v>
                </c:pt>
                <c:pt idx="197">
                  <c:v>-0.11174947226393328</c:v>
                </c:pt>
                <c:pt idx="198">
                  <c:v>-0.10953608247422686</c:v>
                </c:pt>
                <c:pt idx="199">
                  <c:v>-0.10946196660482377</c:v>
                </c:pt>
                <c:pt idx="200">
                  <c:v>-0.10904761904761906</c:v>
                </c:pt>
                <c:pt idx="201">
                  <c:v>-0.10639012825060201</c:v>
                </c:pt>
                <c:pt idx="202">
                  <c:v>-0.10544387563990509</c:v>
                </c:pt>
                <c:pt idx="203">
                  <c:v>-0.10095867768595046</c:v>
                </c:pt>
                <c:pt idx="204">
                  <c:v>-9.9089186380585614E-2</c:v>
                </c:pt>
                <c:pt idx="205">
                  <c:v>-9.8952879581151842E-2</c:v>
                </c:pt>
                <c:pt idx="206">
                  <c:v>-9.7675831687680348E-2</c:v>
                </c:pt>
                <c:pt idx="207">
                  <c:v>-9.6375647205856119E-2</c:v>
                </c:pt>
                <c:pt idx="208">
                  <c:v>-9.5650359862313517E-2</c:v>
                </c:pt>
                <c:pt idx="209">
                  <c:v>-9.3364895913110035E-2</c:v>
                </c:pt>
                <c:pt idx="210">
                  <c:v>-9.2356687898089151E-2</c:v>
                </c:pt>
                <c:pt idx="211">
                  <c:v>-9.2123251656325622E-2</c:v>
                </c:pt>
                <c:pt idx="212">
                  <c:v>-9.1314553990610281E-2</c:v>
                </c:pt>
                <c:pt idx="213">
                  <c:v>-9.0939447907390947E-2</c:v>
                </c:pt>
                <c:pt idx="214">
                  <c:v>-8.8774761555392545E-2</c:v>
                </c:pt>
                <c:pt idx="215">
                  <c:v>-8.8421052631578956E-2</c:v>
                </c:pt>
                <c:pt idx="216">
                  <c:v>-8.8315393593567659E-2</c:v>
                </c:pt>
                <c:pt idx="217">
                  <c:v>-8.54700854700855E-2</c:v>
                </c:pt>
                <c:pt idx="218">
                  <c:v>-8.5324232081911311E-2</c:v>
                </c:pt>
                <c:pt idx="219">
                  <c:v>-8.2462386585505865E-2</c:v>
                </c:pt>
                <c:pt idx="220">
                  <c:v>-8.2385834109972023E-2</c:v>
                </c:pt>
                <c:pt idx="221">
                  <c:v>-8.2244285384437732E-2</c:v>
                </c:pt>
                <c:pt idx="222">
                  <c:v>-7.7616357277374259E-2</c:v>
                </c:pt>
                <c:pt idx="223">
                  <c:v>-7.7432651258648622E-2</c:v>
                </c:pt>
                <c:pt idx="224">
                  <c:v>-7.1579752645671291E-2</c:v>
                </c:pt>
                <c:pt idx="225">
                  <c:v>-6.8722762319812225E-2</c:v>
                </c:pt>
                <c:pt idx="226">
                  <c:v>-6.8303618340397221E-2</c:v>
                </c:pt>
                <c:pt idx="227">
                  <c:v>-6.70807453416149E-2</c:v>
                </c:pt>
                <c:pt idx="228">
                  <c:v>-6.1990212071778128E-2</c:v>
                </c:pt>
                <c:pt idx="229">
                  <c:v>-6.1780363996533416E-2</c:v>
                </c:pt>
                <c:pt idx="230">
                  <c:v>-6.163986290535195E-2</c:v>
                </c:pt>
                <c:pt idx="231">
                  <c:v>-6.1550626326522084E-2</c:v>
                </c:pt>
                <c:pt idx="232">
                  <c:v>-6.0153411384739619E-2</c:v>
                </c:pt>
                <c:pt idx="233">
                  <c:v>-5.9068034380891588E-2</c:v>
                </c:pt>
                <c:pt idx="234">
                  <c:v>-5.8648111332007979E-2</c:v>
                </c:pt>
                <c:pt idx="235">
                  <c:v>-5.6468172484599566E-2</c:v>
                </c:pt>
                <c:pt idx="236">
                  <c:v>-5.5352826880242678E-2</c:v>
                </c:pt>
                <c:pt idx="237">
                  <c:v>-5.4856040776966486E-2</c:v>
                </c:pt>
                <c:pt idx="238">
                  <c:v>-5.1517354170452445E-2</c:v>
                </c:pt>
                <c:pt idx="239">
                  <c:v>-4.7706003195617463E-2</c:v>
                </c:pt>
                <c:pt idx="240">
                  <c:v>-4.75054661101173E-2</c:v>
                </c:pt>
                <c:pt idx="241">
                  <c:v>-4.5486443381180242E-2</c:v>
                </c:pt>
                <c:pt idx="242">
                  <c:v>-4.537444933920709E-2</c:v>
                </c:pt>
                <c:pt idx="243">
                  <c:v>-4.2079730014764838E-2</c:v>
                </c:pt>
                <c:pt idx="244">
                  <c:v>-3.4673366834170882E-2</c:v>
                </c:pt>
                <c:pt idx="245">
                  <c:v>-3.4072471606273691E-2</c:v>
                </c:pt>
                <c:pt idx="246">
                  <c:v>-3.3395755305867691E-2</c:v>
                </c:pt>
                <c:pt idx="247">
                  <c:v>-3.1637209887414253E-2</c:v>
                </c:pt>
                <c:pt idx="248">
                  <c:v>-2.950533661740562E-2</c:v>
                </c:pt>
                <c:pt idx="249">
                  <c:v>-2.6329578202777038E-2</c:v>
                </c:pt>
                <c:pt idx="250">
                  <c:v>-2.5641025641025661E-2</c:v>
                </c:pt>
                <c:pt idx="251">
                  <c:v>-2.4406224406224419E-2</c:v>
                </c:pt>
                <c:pt idx="252">
                  <c:v>-2.1371541798140048E-2</c:v>
                </c:pt>
                <c:pt idx="253">
                  <c:v>-2.0436880192977736E-2</c:v>
                </c:pt>
                <c:pt idx="254">
                  <c:v>-1.5606500914863819E-2</c:v>
                </c:pt>
                <c:pt idx="255">
                  <c:v>-1.5151515151515138E-2</c:v>
                </c:pt>
                <c:pt idx="256">
                  <c:v>-1.0121555523269876E-2</c:v>
                </c:pt>
                <c:pt idx="257">
                  <c:v>-5.9024603521602437E-3</c:v>
                </c:pt>
                <c:pt idx="258">
                  <c:v>-3.3498902622155491E-3</c:v>
                </c:pt>
                <c:pt idx="259">
                  <c:v>1.7413132542909437E-4</c:v>
                </c:pt>
                <c:pt idx="260">
                  <c:v>4.4124857002778572E-3</c:v>
                </c:pt>
                <c:pt idx="261">
                  <c:v>4.5387375976355671E-3</c:v>
                </c:pt>
                <c:pt idx="262">
                  <c:v>5.4086538461537437E-3</c:v>
                </c:pt>
                <c:pt idx="263">
                  <c:v>8.3575742362269612E-3</c:v>
                </c:pt>
                <c:pt idx="264">
                  <c:v>9.6720707442887743E-3</c:v>
                </c:pt>
                <c:pt idx="265">
                  <c:v>1.3650826234219426E-2</c:v>
                </c:pt>
                <c:pt idx="266">
                  <c:v>1.5802245228679235E-2</c:v>
                </c:pt>
                <c:pt idx="267">
                  <c:v>1.7492711370262315E-2</c:v>
                </c:pt>
                <c:pt idx="268">
                  <c:v>1.9495378763113358E-2</c:v>
                </c:pt>
                <c:pt idx="269">
                  <c:v>2.0528698548160529E-2</c:v>
                </c:pt>
                <c:pt idx="270">
                  <c:v>2.526724975704564E-2</c:v>
                </c:pt>
                <c:pt idx="271">
                  <c:v>3.3525473673327033E-2</c:v>
                </c:pt>
                <c:pt idx="272">
                  <c:v>3.4100259510095654E-2</c:v>
                </c:pt>
                <c:pt idx="273">
                  <c:v>3.7639140564328155E-2</c:v>
                </c:pt>
                <c:pt idx="274">
                  <c:v>3.8460379178346438E-2</c:v>
                </c:pt>
                <c:pt idx="275">
                  <c:v>3.951717200747229E-2</c:v>
                </c:pt>
                <c:pt idx="276">
                  <c:v>3.9618187416606832E-2</c:v>
                </c:pt>
                <c:pt idx="277">
                  <c:v>4.1058073583295718E-2</c:v>
                </c:pt>
                <c:pt idx="278">
                  <c:v>4.382120946538115E-2</c:v>
                </c:pt>
                <c:pt idx="279">
                  <c:v>4.4932079414838011E-2</c:v>
                </c:pt>
                <c:pt idx="280">
                  <c:v>5.2430886558627154E-2</c:v>
                </c:pt>
                <c:pt idx="281">
                  <c:v>5.5157987449080625E-2</c:v>
                </c:pt>
                <c:pt idx="282">
                  <c:v>5.9076262083780806E-2</c:v>
                </c:pt>
                <c:pt idx="283">
                  <c:v>6.25E-2</c:v>
                </c:pt>
                <c:pt idx="284">
                  <c:v>6.2844094887733126E-2</c:v>
                </c:pt>
                <c:pt idx="285">
                  <c:v>6.3762302346191513E-2</c:v>
                </c:pt>
                <c:pt idx="286">
                  <c:v>7.1054693621689369E-2</c:v>
                </c:pt>
                <c:pt idx="287">
                  <c:v>7.2481269039712304E-2</c:v>
                </c:pt>
                <c:pt idx="288">
                  <c:v>7.6002393776182009E-2</c:v>
                </c:pt>
                <c:pt idx="289">
                  <c:v>7.6532511218635246E-2</c:v>
                </c:pt>
                <c:pt idx="290">
                  <c:v>7.795100222717144E-2</c:v>
                </c:pt>
                <c:pt idx="291">
                  <c:v>8.0400513961578213E-2</c:v>
                </c:pt>
                <c:pt idx="292">
                  <c:v>8.279599764108414E-2</c:v>
                </c:pt>
                <c:pt idx="293">
                  <c:v>8.5462737890555474E-2</c:v>
                </c:pt>
                <c:pt idx="294">
                  <c:v>8.5470085470085388E-2</c:v>
                </c:pt>
                <c:pt idx="295">
                  <c:v>8.8439671509791484E-2</c:v>
                </c:pt>
                <c:pt idx="296">
                  <c:v>9.6474045053868807E-2</c:v>
                </c:pt>
                <c:pt idx="297">
                  <c:v>0.10444674250258523</c:v>
                </c:pt>
                <c:pt idx="298">
                  <c:v>0.10537252178959688</c:v>
                </c:pt>
                <c:pt idx="299">
                  <c:v>0.10889570552147232</c:v>
                </c:pt>
                <c:pt idx="300">
                  <c:v>0.128984432913269</c:v>
                </c:pt>
                <c:pt idx="301">
                  <c:v>0.13734919429680259</c:v>
                </c:pt>
                <c:pt idx="302">
                  <c:v>0.14511643927683315</c:v>
                </c:pt>
                <c:pt idx="303">
                  <c:v>0.14644955168504592</c:v>
                </c:pt>
                <c:pt idx="304">
                  <c:v>0.15087040618955516</c:v>
                </c:pt>
                <c:pt idx="305">
                  <c:v>0.16002550207204336</c:v>
                </c:pt>
                <c:pt idx="306">
                  <c:v>0.16088487904333437</c:v>
                </c:pt>
                <c:pt idx="307">
                  <c:v>0.16363636363636358</c:v>
                </c:pt>
                <c:pt idx="308">
                  <c:v>0.19559229606988415</c:v>
                </c:pt>
                <c:pt idx="309">
                  <c:v>0.20415722333743447</c:v>
                </c:pt>
                <c:pt idx="310">
                  <c:v>0.23385789222699094</c:v>
                </c:pt>
                <c:pt idx="311">
                  <c:v>0.30462674961119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B8-44A7-B4A3-F870A703DE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715598920"/>
        <c:axId val="715599576"/>
      </c:barChart>
      <c:catAx>
        <c:axId val="715598920"/>
        <c:scaling>
          <c:orientation val="minMax"/>
        </c:scaling>
        <c:delete val="1"/>
        <c:axPos val="b"/>
        <c:majorTickMark val="none"/>
        <c:minorTickMark val="none"/>
        <c:tickLblPos val="nextTo"/>
        <c:crossAx val="715599576"/>
        <c:crosses val="autoZero"/>
        <c:auto val="1"/>
        <c:lblAlgn val="ctr"/>
        <c:lblOffset val="100"/>
        <c:noMultiLvlLbl val="0"/>
      </c:catAx>
      <c:valAx>
        <c:axId val="715599576"/>
        <c:scaling>
          <c:orientation val="minMax"/>
        </c:scaling>
        <c:delete val="0"/>
        <c:axPos val="l"/>
        <c:majorGridlines>
          <c:spPr>
            <a:ln w="9525"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8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715598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F1F3F5"/>
    </a:solidFill>
    <a:ln>
      <a:noFill/>
    </a:ln>
    <a:effectLst/>
  </c:spPr>
  <c:txPr>
    <a:bodyPr/>
    <a:lstStyle/>
    <a:p>
      <a:pPr algn="ctr">
        <a:defRPr lang="en-US" sz="900" b="0" i="0" u="none" strike="noStrike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pPr>
      <a:endParaRPr lang="fi-FI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i-FI" sz="900" b="0" i="0" u="none" strike="noStrike" kern="1200" spc="0" baseline="0">
                <a:solidFill>
                  <a:schemeClr val="accent1"/>
                </a:solidFill>
              </a:rPr>
              <a:t>Reaalihinnat (indeksi 1983=100)</a:t>
            </a:r>
            <a:endParaRPr lang="fi-FI" sz="900"/>
          </a:p>
        </c:rich>
      </c:tx>
      <c:layout>
        <c:manualLayout>
          <c:xMode val="edge"/>
          <c:yMode val="edge"/>
          <c:x val="0.13101390104014773"/>
          <c:y val="6.21498437110436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0.14640503270424529"/>
          <c:y val="0.12102864301624291"/>
          <c:w val="0.75130219833631906"/>
          <c:h val="0.76449304478085545"/>
        </c:manualLayout>
      </c:layout>
      <c:lineChart>
        <c:grouping val="standard"/>
        <c:varyColors val="0"/>
        <c:ser>
          <c:idx val="1"/>
          <c:order val="0"/>
          <c:tx>
            <c:strRef>
              <c:f>'001_13my_2023q3'!$A$5</c:f>
              <c:strCache>
                <c:ptCount val="1"/>
                <c:pt idx="0">
                  <c:v>Pk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001_13my_2023q3'!$B$3:$DY$3</c:f>
              <c:numCache>
                <c:formatCode>m/d/yyyy</c:formatCode>
                <c:ptCount val="128"/>
                <c:pt idx="0">
                  <c:v>33604</c:v>
                </c:pt>
                <c:pt idx="1">
                  <c:v>33695</c:v>
                </c:pt>
                <c:pt idx="2">
                  <c:v>33786</c:v>
                </c:pt>
                <c:pt idx="3">
                  <c:v>33878</c:v>
                </c:pt>
                <c:pt idx="4">
                  <c:v>33970</c:v>
                </c:pt>
                <c:pt idx="5">
                  <c:v>34060</c:v>
                </c:pt>
                <c:pt idx="6">
                  <c:v>34151</c:v>
                </c:pt>
                <c:pt idx="7">
                  <c:v>34243</c:v>
                </c:pt>
                <c:pt idx="8">
                  <c:v>34335</c:v>
                </c:pt>
                <c:pt idx="9">
                  <c:v>34425</c:v>
                </c:pt>
                <c:pt idx="10">
                  <c:v>34516</c:v>
                </c:pt>
                <c:pt idx="11">
                  <c:v>34608</c:v>
                </c:pt>
                <c:pt idx="12">
                  <c:v>34700</c:v>
                </c:pt>
                <c:pt idx="13">
                  <c:v>34790</c:v>
                </c:pt>
                <c:pt idx="14">
                  <c:v>34881</c:v>
                </c:pt>
                <c:pt idx="15">
                  <c:v>34973</c:v>
                </c:pt>
                <c:pt idx="16">
                  <c:v>35065</c:v>
                </c:pt>
                <c:pt idx="17">
                  <c:v>35156</c:v>
                </c:pt>
                <c:pt idx="18">
                  <c:v>35247</c:v>
                </c:pt>
                <c:pt idx="19">
                  <c:v>35339</c:v>
                </c:pt>
                <c:pt idx="20">
                  <c:v>35431</c:v>
                </c:pt>
                <c:pt idx="21">
                  <c:v>35521</c:v>
                </c:pt>
                <c:pt idx="22">
                  <c:v>35612</c:v>
                </c:pt>
                <c:pt idx="23">
                  <c:v>35704</c:v>
                </c:pt>
                <c:pt idx="24">
                  <c:v>35796</c:v>
                </c:pt>
                <c:pt idx="25">
                  <c:v>35886</c:v>
                </c:pt>
                <c:pt idx="26">
                  <c:v>35977</c:v>
                </c:pt>
                <c:pt idx="27">
                  <c:v>36069</c:v>
                </c:pt>
                <c:pt idx="28">
                  <c:v>36161</c:v>
                </c:pt>
                <c:pt idx="29">
                  <c:v>36251</c:v>
                </c:pt>
                <c:pt idx="30">
                  <c:v>36342</c:v>
                </c:pt>
                <c:pt idx="31">
                  <c:v>36434</c:v>
                </c:pt>
                <c:pt idx="32">
                  <c:v>36526</c:v>
                </c:pt>
                <c:pt idx="33">
                  <c:v>36617</c:v>
                </c:pt>
                <c:pt idx="34">
                  <c:v>36708</c:v>
                </c:pt>
                <c:pt idx="35">
                  <c:v>36800</c:v>
                </c:pt>
                <c:pt idx="36">
                  <c:v>36892</c:v>
                </c:pt>
                <c:pt idx="37">
                  <c:v>36982</c:v>
                </c:pt>
                <c:pt idx="38">
                  <c:v>37073</c:v>
                </c:pt>
                <c:pt idx="39">
                  <c:v>37165</c:v>
                </c:pt>
                <c:pt idx="40">
                  <c:v>37257</c:v>
                </c:pt>
                <c:pt idx="41">
                  <c:v>37347</c:v>
                </c:pt>
                <c:pt idx="42">
                  <c:v>37438</c:v>
                </c:pt>
                <c:pt idx="43">
                  <c:v>37530</c:v>
                </c:pt>
                <c:pt idx="44">
                  <c:v>37622</c:v>
                </c:pt>
                <c:pt idx="45">
                  <c:v>37712</c:v>
                </c:pt>
                <c:pt idx="46">
                  <c:v>37803</c:v>
                </c:pt>
                <c:pt idx="47">
                  <c:v>37895</c:v>
                </c:pt>
                <c:pt idx="48">
                  <c:v>37987</c:v>
                </c:pt>
                <c:pt idx="49">
                  <c:v>38078</c:v>
                </c:pt>
                <c:pt idx="50">
                  <c:v>38169</c:v>
                </c:pt>
                <c:pt idx="51">
                  <c:v>38261</c:v>
                </c:pt>
                <c:pt idx="52">
                  <c:v>38353</c:v>
                </c:pt>
                <c:pt idx="53">
                  <c:v>38443</c:v>
                </c:pt>
                <c:pt idx="54">
                  <c:v>38534</c:v>
                </c:pt>
                <c:pt idx="55">
                  <c:v>38626</c:v>
                </c:pt>
                <c:pt idx="56">
                  <c:v>38718</c:v>
                </c:pt>
                <c:pt idx="57">
                  <c:v>38808</c:v>
                </c:pt>
                <c:pt idx="58">
                  <c:v>38899</c:v>
                </c:pt>
                <c:pt idx="59">
                  <c:v>38991</c:v>
                </c:pt>
                <c:pt idx="60">
                  <c:v>39083</c:v>
                </c:pt>
                <c:pt idx="61">
                  <c:v>39173</c:v>
                </c:pt>
                <c:pt idx="62">
                  <c:v>39264</c:v>
                </c:pt>
                <c:pt idx="63">
                  <c:v>39356</c:v>
                </c:pt>
                <c:pt idx="64">
                  <c:v>39448</c:v>
                </c:pt>
                <c:pt idx="65">
                  <c:v>39539</c:v>
                </c:pt>
                <c:pt idx="66">
                  <c:v>39630</c:v>
                </c:pt>
                <c:pt idx="67">
                  <c:v>39722</c:v>
                </c:pt>
                <c:pt idx="68">
                  <c:v>39814</c:v>
                </c:pt>
                <c:pt idx="69">
                  <c:v>39904</c:v>
                </c:pt>
                <c:pt idx="70">
                  <c:v>39995</c:v>
                </c:pt>
                <c:pt idx="71">
                  <c:v>40087</c:v>
                </c:pt>
                <c:pt idx="72">
                  <c:v>40179</c:v>
                </c:pt>
                <c:pt idx="73">
                  <c:v>40269</c:v>
                </c:pt>
                <c:pt idx="74">
                  <c:v>40360</c:v>
                </c:pt>
                <c:pt idx="75">
                  <c:v>40452</c:v>
                </c:pt>
                <c:pt idx="76">
                  <c:v>40544</c:v>
                </c:pt>
                <c:pt idx="77">
                  <c:v>40634</c:v>
                </c:pt>
                <c:pt idx="78">
                  <c:v>40725</c:v>
                </c:pt>
                <c:pt idx="79">
                  <c:v>40817</c:v>
                </c:pt>
                <c:pt idx="80">
                  <c:v>40909</c:v>
                </c:pt>
                <c:pt idx="81">
                  <c:v>41000</c:v>
                </c:pt>
                <c:pt idx="82">
                  <c:v>41091</c:v>
                </c:pt>
                <c:pt idx="83">
                  <c:v>41183</c:v>
                </c:pt>
                <c:pt idx="84">
                  <c:v>41275</c:v>
                </c:pt>
                <c:pt idx="85">
                  <c:v>41365</c:v>
                </c:pt>
                <c:pt idx="86">
                  <c:v>41456</c:v>
                </c:pt>
                <c:pt idx="87">
                  <c:v>41548</c:v>
                </c:pt>
                <c:pt idx="88">
                  <c:v>41640</c:v>
                </c:pt>
                <c:pt idx="89">
                  <c:v>41730</c:v>
                </c:pt>
                <c:pt idx="90">
                  <c:v>41821</c:v>
                </c:pt>
                <c:pt idx="91">
                  <c:v>41913</c:v>
                </c:pt>
                <c:pt idx="92">
                  <c:v>42005</c:v>
                </c:pt>
                <c:pt idx="93">
                  <c:v>42095</c:v>
                </c:pt>
                <c:pt idx="94">
                  <c:v>42186</c:v>
                </c:pt>
                <c:pt idx="95">
                  <c:v>42278</c:v>
                </c:pt>
                <c:pt idx="96">
                  <c:v>42370</c:v>
                </c:pt>
                <c:pt idx="97">
                  <c:v>42461</c:v>
                </c:pt>
                <c:pt idx="98">
                  <c:v>42552</c:v>
                </c:pt>
                <c:pt idx="99">
                  <c:v>42644</c:v>
                </c:pt>
                <c:pt idx="100">
                  <c:v>42736</c:v>
                </c:pt>
                <c:pt idx="101">
                  <c:v>42826</c:v>
                </c:pt>
                <c:pt idx="102">
                  <c:v>42917</c:v>
                </c:pt>
                <c:pt idx="103">
                  <c:v>43009</c:v>
                </c:pt>
                <c:pt idx="104">
                  <c:v>43101</c:v>
                </c:pt>
                <c:pt idx="105">
                  <c:v>43191</c:v>
                </c:pt>
                <c:pt idx="106">
                  <c:v>43282</c:v>
                </c:pt>
                <c:pt idx="107">
                  <c:v>43374</c:v>
                </c:pt>
                <c:pt idx="108">
                  <c:v>43466</c:v>
                </c:pt>
                <c:pt idx="109">
                  <c:v>43556</c:v>
                </c:pt>
                <c:pt idx="110">
                  <c:v>43647</c:v>
                </c:pt>
                <c:pt idx="111">
                  <c:v>43739</c:v>
                </c:pt>
                <c:pt idx="112">
                  <c:v>43831</c:v>
                </c:pt>
                <c:pt idx="113">
                  <c:v>43922</c:v>
                </c:pt>
                <c:pt idx="114">
                  <c:v>44013</c:v>
                </c:pt>
                <c:pt idx="115">
                  <c:v>44105</c:v>
                </c:pt>
                <c:pt idx="116">
                  <c:v>44197</c:v>
                </c:pt>
                <c:pt idx="117">
                  <c:v>44287</c:v>
                </c:pt>
                <c:pt idx="118">
                  <c:v>44378</c:v>
                </c:pt>
                <c:pt idx="119">
                  <c:v>44470</c:v>
                </c:pt>
                <c:pt idx="120">
                  <c:v>44562</c:v>
                </c:pt>
                <c:pt idx="121">
                  <c:v>44652</c:v>
                </c:pt>
                <c:pt idx="122">
                  <c:v>44743</c:v>
                </c:pt>
                <c:pt idx="123">
                  <c:v>44835</c:v>
                </c:pt>
                <c:pt idx="124">
                  <c:v>44927</c:v>
                </c:pt>
                <c:pt idx="125">
                  <c:v>45017</c:v>
                </c:pt>
                <c:pt idx="126">
                  <c:v>45108</c:v>
                </c:pt>
                <c:pt idx="127">
                  <c:v>45200</c:v>
                </c:pt>
              </c:numCache>
            </c:numRef>
          </c:cat>
          <c:val>
            <c:numRef>
              <c:f>'001_13my_2023q3'!$B$5:$DY$5</c:f>
              <c:numCache>
                <c:formatCode>0.0</c:formatCode>
                <c:ptCount val="128"/>
                <c:pt idx="0">
                  <c:v>97</c:v>
                </c:pt>
                <c:pt idx="1">
                  <c:v>88.1</c:v>
                </c:pt>
                <c:pt idx="2">
                  <c:v>82.3</c:v>
                </c:pt>
                <c:pt idx="3">
                  <c:v>76.8</c:v>
                </c:pt>
                <c:pt idx="4">
                  <c:v>77.099999999999994</c:v>
                </c:pt>
                <c:pt idx="5">
                  <c:v>78.599999999999994</c:v>
                </c:pt>
                <c:pt idx="6">
                  <c:v>80.8</c:v>
                </c:pt>
                <c:pt idx="7">
                  <c:v>83.1</c:v>
                </c:pt>
                <c:pt idx="8">
                  <c:v>87.5</c:v>
                </c:pt>
                <c:pt idx="9">
                  <c:v>88.8</c:v>
                </c:pt>
                <c:pt idx="10">
                  <c:v>87.5</c:v>
                </c:pt>
                <c:pt idx="11">
                  <c:v>86.8</c:v>
                </c:pt>
                <c:pt idx="12">
                  <c:v>84.2</c:v>
                </c:pt>
                <c:pt idx="13">
                  <c:v>81.2</c:v>
                </c:pt>
                <c:pt idx="14">
                  <c:v>78.8</c:v>
                </c:pt>
                <c:pt idx="15">
                  <c:v>78.2</c:v>
                </c:pt>
                <c:pt idx="16">
                  <c:v>79.7</c:v>
                </c:pt>
                <c:pt idx="17">
                  <c:v>82.8</c:v>
                </c:pt>
                <c:pt idx="18">
                  <c:v>87.1</c:v>
                </c:pt>
                <c:pt idx="19">
                  <c:v>93.1</c:v>
                </c:pt>
                <c:pt idx="20">
                  <c:v>101.6</c:v>
                </c:pt>
                <c:pt idx="21">
                  <c:v>103.3</c:v>
                </c:pt>
                <c:pt idx="22">
                  <c:v>104.3</c:v>
                </c:pt>
                <c:pt idx="23">
                  <c:v>106.2</c:v>
                </c:pt>
                <c:pt idx="24">
                  <c:v>110.6</c:v>
                </c:pt>
                <c:pt idx="25">
                  <c:v>112.6</c:v>
                </c:pt>
                <c:pt idx="26">
                  <c:v>116.9</c:v>
                </c:pt>
                <c:pt idx="27">
                  <c:v>117.8</c:v>
                </c:pt>
                <c:pt idx="28">
                  <c:v>119.9</c:v>
                </c:pt>
                <c:pt idx="29">
                  <c:v>122.6</c:v>
                </c:pt>
                <c:pt idx="30">
                  <c:v>129.6</c:v>
                </c:pt>
                <c:pt idx="31">
                  <c:v>133.5</c:v>
                </c:pt>
                <c:pt idx="32">
                  <c:v>136.80000000000001</c:v>
                </c:pt>
                <c:pt idx="33">
                  <c:v>135.6</c:v>
                </c:pt>
                <c:pt idx="34">
                  <c:v>131.4</c:v>
                </c:pt>
                <c:pt idx="35">
                  <c:v>129.5</c:v>
                </c:pt>
                <c:pt idx="36">
                  <c:v>128.80000000000001</c:v>
                </c:pt>
                <c:pt idx="37">
                  <c:v>128.1</c:v>
                </c:pt>
                <c:pt idx="38">
                  <c:v>128.30000000000001</c:v>
                </c:pt>
                <c:pt idx="39">
                  <c:v>129</c:v>
                </c:pt>
                <c:pt idx="40">
                  <c:v>134.9</c:v>
                </c:pt>
                <c:pt idx="41">
                  <c:v>139.6</c:v>
                </c:pt>
                <c:pt idx="42">
                  <c:v>141.30000000000001</c:v>
                </c:pt>
                <c:pt idx="43">
                  <c:v>139.30000000000001</c:v>
                </c:pt>
                <c:pt idx="44">
                  <c:v>141.5</c:v>
                </c:pt>
                <c:pt idx="45">
                  <c:v>145.19999999999999</c:v>
                </c:pt>
                <c:pt idx="46">
                  <c:v>148.30000000000001</c:v>
                </c:pt>
                <c:pt idx="47">
                  <c:v>150</c:v>
                </c:pt>
                <c:pt idx="48">
                  <c:v>153.4</c:v>
                </c:pt>
                <c:pt idx="49">
                  <c:v>156.6</c:v>
                </c:pt>
                <c:pt idx="50">
                  <c:v>155.6</c:v>
                </c:pt>
                <c:pt idx="51">
                  <c:v>155.80000000000001</c:v>
                </c:pt>
                <c:pt idx="52">
                  <c:v>159.1</c:v>
                </c:pt>
                <c:pt idx="53">
                  <c:v>163.80000000000001</c:v>
                </c:pt>
                <c:pt idx="54">
                  <c:v>166.6</c:v>
                </c:pt>
                <c:pt idx="55">
                  <c:v>170.6</c:v>
                </c:pt>
                <c:pt idx="56">
                  <c:v>170.4</c:v>
                </c:pt>
                <c:pt idx="57">
                  <c:v>172.6</c:v>
                </c:pt>
                <c:pt idx="58">
                  <c:v>174.8</c:v>
                </c:pt>
                <c:pt idx="59">
                  <c:v>177.3</c:v>
                </c:pt>
                <c:pt idx="60">
                  <c:v>179.3</c:v>
                </c:pt>
                <c:pt idx="61">
                  <c:v>180.8</c:v>
                </c:pt>
                <c:pt idx="62">
                  <c:v>183</c:v>
                </c:pt>
                <c:pt idx="63">
                  <c:v>181.9</c:v>
                </c:pt>
                <c:pt idx="64">
                  <c:v>179.2</c:v>
                </c:pt>
                <c:pt idx="65">
                  <c:v>180.3</c:v>
                </c:pt>
                <c:pt idx="66">
                  <c:v>174.6</c:v>
                </c:pt>
                <c:pt idx="67">
                  <c:v>166.3</c:v>
                </c:pt>
                <c:pt idx="68">
                  <c:v>164.3</c:v>
                </c:pt>
                <c:pt idx="69">
                  <c:v>171.3</c:v>
                </c:pt>
                <c:pt idx="70">
                  <c:v>179.1</c:v>
                </c:pt>
                <c:pt idx="71">
                  <c:v>185.9</c:v>
                </c:pt>
                <c:pt idx="72">
                  <c:v>190.3</c:v>
                </c:pt>
                <c:pt idx="73">
                  <c:v>193.6</c:v>
                </c:pt>
                <c:pt idx="74">
                  <c:v>193.5</c:v>
                </c:pt>
                <c:pt idx="75">
                  <c:v>192.8</c:v>
                </c:pt>
                <c:pt idx="76">
                  <c:v>192.6</c:v>
                </c:pt>
                <c:pt idx="77">
                  <c:v>193.7</c:v>
                </c:pt>
                <c:pt idx="78">
                  <c:v>193.2</c:v>
                </c:pt>
                <c:pt idx="79">
                  <c:v>189.4</c:v>
                </c:pt>
                <c:pt idx="80">
                  <c:v>191</c:v>
                </c:pt>
                <c:pt idx="81">
                  <c:v>189.9</c:v>
                </c:pt>
                <c:pt idx="82">
                  <c:v>192.5</c:v>
                </c:pt>
                <c:pt idx="83">
                  <c:v>192.2</c:v>
                </c:pt>
                <c:pt idx="84">
                  <c:v>192.2</c:v>
                </c:pt>
                <c:pt idx="85">
                  <c:v>193.4</c:v>
                </c:pt>
                <c:pt idx="86">
                  <c:v>194.6</c:v>
                </c:pt>
                <c:pt idx="87">
                  <c:v>193</c:v>
                </c:pt>
                <c:pt idx="88">
                  <c:v>192.2</c:v>
                </c:pt>
                <c:pt idx="89">
                  <c:v>193.4</c:v>
                </c:pt>
                <c:pt idx="90">
                  <c:v>191.4</c:v>
                </c:pt>
                <c:pt idx="91">
                  <c:v>189.7</c:v>
                </c:pt>
                <c:pt idx="92">
                  <c:v>191.3</c:v>
                </c:pt>
                <c:pt idx="93">
                  <c:v>191.6</c:v>
                </c:pt>
                <c:pt idx="94">
                  <c:v>192.2</c:v>
                </c:pt>
                <c:pt idx="95">
                  <c:v>192.3</c:v>
                </c:pt>
                <c:pt idx="96">
                  <c:v>193</c:v>
                </c:pt>
                <c:pt idx="97">
                  <c:v>195.6</c:v>
                </c:pt>
                <c:pt idx="98">
                  <c:v>196.2</c:v>
                </c:pt>
                <c:pt idx="99">
                  <c:v>195.9</c:v>
                </c:pt>
                <c:pt idx="100">
                  <c:v>196.1</c:v>
                </c:pt>
                <c:pt idx="101">
                  <c:v>199.2</c:v>
                </c:pt>
                <c:pt idx="102">
                  <c:v>199.9</c:v>
                </c:pt>
                <c:pt idx="103">
                  <c:v>200</c:v>
                </c:pt>
                <c:pt idx="104">
                  <c:v>200.5</c:v>
                </c:pt>
                <c:pt idx="105">
                  <c:v>203.8</c:v>
                </c:pt>
                <c:pt idx="106">
                  <c:v>201.6</c:v>
                </c:pt>
                <c:pt idx="107">
                  <c:v>202</c:v>
                </c:pt>
                <c:pt idx="108">
                  <c:v>204.2</c:v>
                </c:pt>
                <c:pt idx="109">
                  <c:v>206.1</c:v>
                </c:pt>
                <c:pt idx="110">
                  <c:v>204.5</c:v>
                </c:pt>
                <c:pt idx="111">
                  <c:v>203.6</c:v>
                </c:pt>
                <c:pt idx="112">
                  <c:v>207.6</c:v>
                </c:pt>
                <c:pt idx="113">
                  <c:v>211.7</c:v>
                </c:pt>
                <c:pt idx="114">
                  <c:v>211.7</c:v>
                </c:pt>
                <c:pt idx="115">
                  <c:v>214.5</c:v>
                </c:pt>
                <c:pt idx="116">
                  <c:v>216.7</c:v>
                </c:pt>
                <c:pt idx="117">
                  <c:v>221</c:v>
                </c:pt>
                <c:pt idx="118">
                  <c:v>218.6</c:v>
                </c:pt>
                <c:pt idx="119">
                  <c:v>216.7</c:v>
                </c:pt>
                <c:pt idx="120">
                  <c:v>211.8</c:v>
                </c:pt>
                <c:pt idx="121">
                  <c:v>208.9</c:v>
                </c:pt>
                <c:pt idx="122">
                  <c:v>201.1</c:v>
                </c:pt>
                <c:pt idx="123">
                  <c:v>190.9</c:v>
                </c:pt>
                <c:pt idx="124">
                  <c:v>183</c:v>
                </c:pt>
                <c:pt idx="125">
                  <c:v>178.3</c:v>
                </c:pt>
                <c:pt idx="126">
                  <c:v>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E5B-4197-9496-4090A8A7616F}"/>
            </c:ext>
          </c:extLst>
        </c:ser>
        <c:ser>
          <c:idx val="0"/>
          <c:order val="1"/>
          <c:tx>
            <c:strRef>
              <c:f>'001_13my_2023q3'!$A$4</c:f>
              <c:strCache>
                <c:ptCount val="1"/>
                <c:pt idx="0">
                  <c:v>Koko ma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001_13my_2023q3'!$B$3:$DY$3</c:f>
              <c:numCache>
                <c:formatCode>m/d/yyyy</c:formatCode>
                <c:ptCount val="128"/>
                <c:pt idx="0">
                  <c:v>33604</c:v>
                </c:pt>
                <c:pt idx="1">
                  <c:v>33695</c:v>
                </c:pt>
                <c:pt idx="2">
                  <c:v>33786</c:v>
                </c:pt>
                <c:pt idx="3">
                  <c:v>33878</c:v>
                </c:pt>
                <c:pt idx="4">
                  <c:v>33970</c:v>
                </c:pt>
                <c:pt idx="5">
                  <c:v>34060</c:v>
                </c:pt>
                <c:pt idx="6">
                  <c:v>34151</c:v>
                </c:pt>
                <c:pt idx="7">
                  <c:v>34243</c:v>
                </c:pt>
                <c:pt idx="8">
                  <c:v>34335</c:v>
                </c:pt>
                <c:pt idx="9">
                  <c:v>34425</c:v>
                </c:pt>
                <c:pt idx="10">
                  <c:v>34516</c:v>
                </c:pt>
                <c:pt idx="11">
                  <c:v>34608</c:v>
                </c:pt>
                <c:pt idx="12">
                  <c:v>34700</c:v>
                </c:pt>
                <c:pt idx="13">
                  <c:v>34790</c:v>
                </c:pt>
                <c:pt idx="14">
                  <c:v>34881</c:v>
                </c:pt>
                <c:pt idx="15">
                  <c:v>34973</c:v>
                </c:pt>
                <c:pt idx="16">
                  <c:v>35065</c:v>
                </c:pt>
                <c:pt idx="17">
                  <c:v>35156</c:v>
                </c:pt>
                <c:pt idx="18">
                  <c:v>35247</c:v>
                </c:pt>
                <c:pt idx="19">
                  <c:v>35339</c:v>
                </c:pt>
                <c:pt idx="20">
                  <c:v>35431</c:v>
                </c:pt>
                <c:pt idx="21">
                  <c:v>35521</c:v>
                </c:pt>
                <c:pt idx="22">
                  <c:v>35612</c:v>
                </c:pt>
                <c:pt idx="23">
                  <c:v>35704</c:v>
                </c:pt>
                <c:pt idx="24">
                  <c:v>35796</c:v>
                </c:pt>
                <c:pt idx="25">
                  <c:v>35886</c:v>
                </c:pt>
                <c:pt idx="26">
                  <c:v>35977</c:v>
                </c:pt>
                <c:pt idx="27">
                  <c:v>36069</c:v>
                </c:pt>
                <c:pt idx="28">
                  <c:v>36161</c:v>
                </c:pt>
                <c:pt idx="29">
                  <c:v>36251</c:v>
                </c:pt>
                <c:pt idx="30">
                  <c:v>36342</c:v>
                </c:pt>
                <c:pt idx="31">
                  <c:v>36434</c:v>
                </c:pt>
                <c:pt idx="32">
                  <c:v>36526</c:v>
                </c:pt>
                <c:pt idx="33">
                  <c:v>36617</c:v>
                </c:pt>
                <c:pt idx="34">
                  <c:v>36708</c:v>
                </c:pt>
                <c:pt idx="35">
                  <c:v>36800</c:v>
                </c:pt>
                <c:pt idx="36">
                  <c:v>36892</c:v>
                </c:pt>
                <c:pt idx="37">
                  <c:v>36982</c:v>
                </c:pt>
                <c:pt idx="38">
                  <c:v>37073</c:v>
                </c:pt>
                <c:pt idx="39">
                  <c:v>37165</c:v>
                </c:pt>
                <c:pt idx="40">
                  <c:v>37257</c:v>
                </c:pt>
                <c:pt idx="41">
                  <c:v>37347</c:v>
                </c:pt>
                <c:pt idx="42">
                  <c:v>37438</c:v>
                </c:pt>
                <c:pt idx="43">
                  <c:v>37530</c:v>
                </c:pt>
                <c:pt idx="44">
                  <c:v>37622</c:v>
                </c:pt>
                <c:pt idx="45">
                  <c:v>37712</c:v>
                </c:pt>
                <c:pt idx="46">
                  <c:v>37803</c:v>
                </c:pt>
                <c:pt idx="47">
                  <c:v>37895</c:v>
                </c:pt>
                <c:pt idx="48">
                  <c:v>37987</c:v>
                </c:pt>
                <c:pt idx="49">
                  <c:v>38078</c:v>
                </c:pt>
                <c:pt idx="50">
                  <c:v>38169</c:v>
                </c:pt>
                <c:pt idx="51">
                  <c:v>38261</c:v>
                </c:pt>
                <c:pt idx="52">
                  <c:v>38353</c:v>
                </c:pt>
                <c:pt idx="53">
                  <c:v>38443</c:v>
                </c:pt>
                <c:pt idx="54">
                  <c:v>38534</c:v>
                </c:pt>
                <c:pt idx="55">
                  <c:v>38626</c:v>
                </c:pt>
                <c:pt idx="56">
                  <c:v>38718</c:v>
                </c:pt>
                <c:pt idx="57">
                  <c:v>38808</c:v>
                </c:pt>
                <c:pt idx="58">
                  <c:v>38899</c:v>
                </c:pt>
                <c:pt idx="59">
                  <c:v>38991</c:v>
                </c:pt>
                <c:pt idx="60">
                  <c:v>39083</c:v>
                </c:pt>
                <c:pt idx="61">
                  <c:v>39173</c:v>
                </c:pt>
                <c:pt idx="62">
                  <c:v>39264</c:v>
                </c:pt>
                <c:pt idx="63">
                  <c:v>39356</c:v>
                </c:pt>
                <c:pt idx="64">
                  <c:v>39448</c:v>
                </c:pt>
                <c:pt idx="65">
                  <c:v>39539</c:v>
                </c:pt>
                <c:pt idx="66">
                  <c:v>39630</c:v>
                </c:pt>
                <c:pt idx="67">
                  <c:v>39722</c:v>
                </c:pt>
                <c:pt idx="68">
                  <c:v>39814</c:v>
                </c:pt>
                <c:pt idx="69">
                  <c:v>39904</c:v>
                </c:pt>
                <c:pt idx="70">
                  <c:v>39995</c:v>
                </c:pt>
                <c:pt idx="71">
                  <c:v>40087</c:v>
                </c:pt>
                <c:pt idx="72">
                  <c:v>40179</c:v>
                </c:pt>
                <c:pt idx="73">
                  <c:v>40269</c:v>
                </c:pt>
                <c:pt idx="74">
                  <c:v>40360</c:v>
                </c:pt>
                <c:pt idx="75">
                  <c:v>40452</c:v>
                </c:pt>
                <c:pt idx="76">
                  <c:v>40544</c:v>
                </c:pt>
                <c:pt idx="77">
                  <c:v>40634</c:v>
                </c:pt>
                <c:pt idx="78">
                  <c:v>40725</c:v>
                </c:pt>
                <c:pt idx="79">
                  <c:v>40817</c:v>
                </c:pt>
                <c:pt idx="80">
                  <c:v>40909</c:v>
                </c:pt>
                <c:pt idx="81">
                  <c:v>41000</c:v>
                </c:pt>
                <c:pt idx="82">
                  <c:v>41091</c:v>
                </c:pt>
                <c:pt idx="83">
                  <c:v>41183</c:v>
                </c:pt>
                <c:pt idx="84">
                  <c:v>41275</c:v>
                </c:pt>
                <c:pt idx="85">
                  <c:v>41365</c:v>
                </c:pt>
                <c:pt idx="86">
                  <c:v>41456</c:v>
                </c:pt>
                <c:pt idx="87">
                  <c:v>41548</c:v>
                </c:pt>
                <c:pt idx="88">
                  <c:v>41640</c:v>
                </c:pt>
                <c:pt idx="89">
                  <c:v>41730</c:v>
                </c:pt>
                <c:pt idx="90">
                  <c:v>41821</c:v>
                </c:pt>
                <c:pt idx="91">
                  <c:v>41913</c:v>
                </c:pt>
                <c:pt idx="92">
                  <c:v>42005</c:v>
                </c:pt>
                <c:pt idx="93">
                  <c:v>42095</c:v>
                </c:pt>
                <c:pt idx="94">
                  <c:v>42186</c:v>
                </c:pt>
                <c:pt idx="95">
                  <c:v>42278</c:v>
                </c:pt>
                <c:pt idx="96">
                  <c:v>42370</c:v>
                </c:pt>
                <c:pt idx="97">
                  <c:v>42461</c:v>
                </c:pt>
                <c:pt idx="98">
                  <c:v>42552</c:v>
                </c:pt>
                <c:pt idx="99">
                  <c:v>42644</c:v>
                </c:pt>
                <c:pt idx="100">
                  <c:v>42736</c:v>
                </c:pt>
                <c:pt idx="101">
                  <c:v>42826</c:v>
                </c:pt>
                <c:pt idx="102">
                  <c:v>42917</c:v>
                </c:pt>
                <c:pt idx="103">
                  <c:v>43009</c:v>
                </c:pt>
                <c:pt idx="104">
                  <c:v>43101</c:v>
                </c:pt>
                <c:pt idx="105">
                  <c:v>43191</c:v>
                </c:pt>
                <c:pt idx="106">
                  <c:v>43282</c:v>
                </c:pt>
                <c:pt idx="107">
                  <c:v>43374</c:v>
                </c:pt>
                <c:pt idx="108">
                  <c:v>43466</c:v>
                </c:pt>
                <c:pt idx="109">
                  <c:v>43556</c:v>
                </c:pt>
                <c:pt idx="110">
                  <c:v>43647</c:v>
                </c:pt>
                <c:pt idx="111">
                  <c:v>43739</c:v>
                </c:pt>
                <c:pt idx="112">
                  <c:v>43831</c:v>
                </c:pt>
                <c:pt idx="113">
                  <c:v>43922</c:v>
                </c:pt>
                <c:pt idx="114">
                  <c:v>44013</c:v>
                </c:pt>
                <c:pt idx="115">
                  <c:v>44105</c:v>
                </c:pt>
                <c:pt idx="116">
                  <c:v>44197</c:v>
                </c:pt>
                <c:pt idx="117">
                  <c:v>44287</c:v>
                </c:pt>
                <c:pt idx="118">
                  <c:v>44378</c:v>
                </c:pt>
                <c:pt idx="119">
                  <c:v>44470</c:v>
                </c:pt>
                <c:pt idx="120">
                  <c:v>44562</c:v>
                </c:pt>
                <c:pt idx="121">
                  <c:v>44652</c:v>
                </c:pt>
                <c:pt idx="122">
                  <c:v>44743</c:v>
                </c:pt>
                <c:pt idx="123">
                  <c:v>44835</c:v>
                </c:pt>
                <c:pt idx="124">
                  <c:v>44927</c:v>
                </c:pt>
                <c:pt idx="125">
                  <c:v>45017</c:v>
                </c:pt>
                <c:pt idx="126">
                  <c:v>45108</c:v>
                </c:pt>
                <c:pt idx="127">
                  <c:v>45200</c:v>
                </c:pt>
              </c:numCache>
            </c:numRef>
          </c:cat>
          <c:val>
            <c:numRef>
              <c:f>'001_13my_2023q3'!$B$4:$DY$4</c:f>
              <c:numCache>
                <c:formatCode>0.0</c:formatCode>
                <c:ptCount val="128"/>
                <c:pt idx="0">
                  <c:v>108.3</c:v>
                </c:pt>
                <c:pt idx="1">
                  <c:v>101.8</c:v>
                </c:pt>
                <c:pt idx="2">
                  <c:v>94.6</c:v>
                </c:pt>
                <c:pt idx="3">
                  <c:v>89</c:v>
                </c:pt>
                <c:pt idx="4">
                  <c:v>86.6</c:v>
                </c:pt>
                <c:pt idx="5">
                  <c:v>86.7</c:v>
                </c:pt>
                <c:pt idx="6">
                  <c:v>87.7</c:v>
                </c:pt>
                <c:pt idx="7">
                  <c:v>90.5</c:v>
                </c:pt>
                <c:pt idx="8">
                  <c:v>92.7</c:v>
                </c:pt>
                <c:pt idx="9">
                  <c:v>93.5</c:v>
                </c:pt>
                <c:pt idx="10">
                  <c:v>91.7</c:v>
                </c:pt>
                <c:pt idx="11">
                  <c:v>90.6</c:v>
                </c:pt>
                <c:pt idx="12">
                  <c:v>89.9</c:v>
                </c:pt>
                <c:pt idx="13">
                  <c:v>88.6</c:v>
                </c:pt>
                <c:pt idx="14">
                  <c:v>86.8</c:v>
                </c:pt>
                <c:pt idx="15">
                  <c:v>86.4</c:v>
                </c:pt>
                <c:pt idx="16">
                  <c:v>87.8</c:v>
                </c:pt>
                <c:pt idx="17">
                  <c:v>90.4</c:v>
                </c:pt>
                <c:pt idx="18">
                  <c:v>93.5</c:v>
                </c:pt>
                <c:pt idx="19">
                  <c:v>97.1</c:v>
                </c:pt>
                <c:pt idx="20">
                  <c:v>104</c:v>
                </c:pt>
                <c:pt idx="21">
                  <c:v>106.5</c:v>
                </c:pt>
                <c:pt idx="22">
                  <c:v>107.7</c:v>
                </c:pt>
                <c:pt idx="23">
                  <c:v>109.8</c:v>
                </c:pt>
                <c:pt idx="24">
                  <c:v>113</c:v>
                </c:pt>
                <c:pt idx="25">
                  <c:v>115</c:v>
                </c:pt>
                <c:pt idx="26">
                  <c:v>118</c:v>
                </c:pt>
                <c:pt idx="27">
                  <c:v>119.1</c:v>
                </c:pt>
                <c:pt idx="28">
                  <c:v>121</c:v>
                </c:pt>
                <c:pt idx="29">
                  <c:v>123</c:v>
                </c:pt>
                <c:pt idx="30">
                  <c:v>127.3</c:v>
                </c:pt>
                <c:pt idx="31">
                  <c:v>129.5</c:v>
                </c:pt>
                <c:pt idx="32">
                  <c:v>130.6</c:v>
                </c:pt>
                <c:pt idx="33">
                  <c:v>130.5</c:v>
                </c:pt>
                <c:pt idx="34">
                  <c:v>126.9</c:v>
                </c:pt>
                <c:pt idx="35">
                  <c:v>124.4</c:v>
                </c:pt>
                <c:pt idx="36">
                  <c:v>124.5</c:v>
                </c:pt>
                <c:pt idx="37">
                  <c:v>123.9</c:v>
                </c:pt>
                <c:pt idx="38">
                  <c:v>123.2</c:v>
                </c:pt>
                <c:pt idx="39">
                  <c:v>123.9</c:v>
                </c:pt>
                <c:pt idx="40">
                  <c:v>128</c:v>
                </c:pt>
                <c:pt idx="41">
                  <c:v>131</c:v>
                </c:pt>
                <c:pt idx="42">
                  <c:v>132.69999999999999</c:v>
                </c:pt>
                <c:pt idx="43">
                  <c:v>132.6</c:v>
                </c:pt>
                <c:pt idx="44">
                  <c:v>134.19999999999999</c:v>
                </c:pt>
                <c:pt idx="45">
                  <c:v>136.69999999999999</c:v>
                </c:pt>
                <c:pt idx="46">
                  <c:v>140.19999999999999</c:v>
                </c:pt>
                <c:pt idx="47">
                  <c:v>141.80000000000001</c:v>
                </c:pt>
                <c:pt idx="48">
                  <c:v>145.5</c:v>
                </c:pt>
                <c:pt idx="49">
                  <c:v>148.9</c:v>
                </c:pt>
                <c:pt idx="50">
                  <c:v>148.80000000000001</c:v>
                </c:pt>
                <c:pt idx="51">
                  <c:v>149.1</c:v>
                </c:pt>
                <c:pt idx="52">
                  <c:v>152.5</c:v>
                </c:pt>
                <c:pt idx="53">
                  <c:v>156</c:v>
                </c:pt>
                <c:pt idx="54">
                  <c:v>158.80000000000001</c:v>
                </c:pt>
                <c:pt idx="55">
                  <c:v>161.5</c:v>
                </c:pt>
                <c:pt idx="56">
                  <c:v>162.4</c:v>
                </c:pt>
                <c:pt idx="57">
                  <c:v>163.80000000000001</c:v>
                </c:pt>
                <c:pt idx="58">
                  <c:v>165.4</c:v>
                </c:pt>
                <c:pt idx="59">
                  <c:v>167.2</c:v>
                </c:pt>
                <c:pt idx="60">
                  <c:v>168.6</c:v>
                </c:pt>
                <c:pt idx="61">
                  <c:v>169.4</c:v>
                </c:pt>
                <c:pt idx="62">
                  <c:v>170.7</c:v>
                </c:pt>
                <c:pt idx="63">
                  <c:v>169.4</c:v>
                </c:pt>
                <c:pt idx="64">
                  <c:v>167.9</c:v>
                </c:pt>
                <c:pt idx="65">
                  <c:v>167.2</c:v>
                </c:pt>
                <c:pt idx="66">
                  <c:v>163.80000000000001</c:v>
                </c:pt>
                <c:pt idx="67">
                  <c:v>156.80000000000001</c:v>
                </c:pt>
                <c:pt idx="68">
                  <c:v>156.1</c:v>
                </c:pt>
                <c:pt idx="69">
                  <c:v>160.9</c:v>
                </c:pt>
                <c:pt idx="70">
                  <c:v>165.8</c:v>
                </c:pt>
                <c:pt idx="71">
                  <c:v>170.9</c:v>
                </c:pt>
                <c:pt idx="72">
                  <c:v>173.7</c:v>
                </c:pt>
                <c:pt idx="73">
                  <c:v>176</c:v>
                </c:pt>
                <c:pt idx="74">
                  <c:v>176.9</c:v>
                </c:pt>
                <c:pt idx="75">
                  <c:v>175.3</c:v>
                </c:pt>
                <c:pt idx="76">
                  <c:v>175.1</c:v>
                </c:pt>
                <c:pt idx="77">
                  <c:v>175.4</c:v>
                </c:pt>
                <c:pt idx="78">
                  <c:v>175</c:v>
                </c:pt>
                <c:pt idx="79">
                  <c:v>171.2</c:v>
                </c:pt>
                <c:pt idx="80">
                  <c:v>171.8</c:v>
                </c:pt>
                <c:pt idx="81">
                  <c:v>171.9</c:v>
                </c:pt>
                <c:pt idx="82">
                  <c:v>173.3</c:v>
                </c:pt>
                <c:pt idx="83">
                  <c:v>171.8</c:v>
                </c:pt>
                <c:pt idx="84">
                  <c:v>172.1</c:v>
                </c:pt>
                <c:pt idx="85">
                  <c:v>173.1</c:v>
                </c:pt>
                <c:pt idx="86">
                  <c:v>172.8</c:v>
                </c:pt>
                <c:pt idx="87">
                  <c:v>171.7</c:v>
                </c:pt>
                <c:pt idx="88">
                  <c:v>170.1</c:v>
                </c:pt>
                <c:pt idx="89">
                  <c:v>170.7</c:v>
                </c:pt>
                <c:pt idx="90">
                  <c:v>169.8</c:v>
                </c:pt>
                <c:pt idx="91">
                  <c:v>168</c:v>
                </c:pt>
                <c:pt idx="92">
                  <c:v>168.4</c:v>
                </c:pt>
                <c:pt idx="93">
                  <c:v>168.9</c:v>
                </c:pt>
                <c:pt idx="94">
                  <c:v>169</c:v>
                </c:pt>
                <c:pt idx="95">
                  <c:v>168.2</c:v>
                </c:pt>
                <c:pt idx="96">
                  <c:v>169.1</c:v>
                </c:pt>
                <c:pt idx="97">
                  <c:v>170</c:v>
                </c:pt>
                <c:pt idx="98">
                  <c:v>170.3</c:v>
                </c:pt>
                <c:pt idx="99">
                  <c:v>168.6</c:v>
                </c:pt>
                <c:pt idx="100">
                  <c:v>168.7</c:v>
                </c:pt>
                <c:pt idx="101">
                  <c:v>170.5</c:v>
                </c:pt>
                <c:pt idx="102">
                  <c:v>170.7</c:v>
                </c:pt>
                <c:pt idx="103">
                  <c:v>169.9</c:v>
                </c:pt>
                <c:pt idx="104">
                  <c:v>169.2</c:v>
                </c:pt>
                <c:pt idx="105">
                  <c:v>171.5</c:v>
                </c:pt>
                <c:pt idx="106">
                  <c:v>169.7</c:v>
                </c:pt>
                <c:pt idx="107">
                  <c:v>169</c:v>
                </c:pt>
                <c:pt idx="108">
                  <c:v>169.6</c:v>
                </c:pt>
                <c:pt idx="109">
                  <c:v>170.9</c:v>
                </c:pt>
                <c:pt idx="110">
                  <c:v>169.5</c:v>
                </c:pt>
                <c:pt idx="111">
                  <c:v>166.9</c:v>
                </c:pt>
                <c:pt idx="112">
                  <c:v>169.6</c:v>
                </c:pt>
                <c:pt idx="113">
                  <c:v>171</c:v>
                </c:pt>
                <c:pt idx="114">
                  <c:v>171.8</c:v>
                </c:pt>
                <c:pt idx="115">
                  <c:v>172.5</c:v>
                </c:pt>
                <c:pt idx="116">
                  <c:v>172.4</c:v>
                </c:pt>
                <c:pt idx="117">
                  <c:v>176</c:v>
                </c:pt>
                <c:pt idx="118">
                  <c:v>174.7</c:v>
                </c:pt>
                <c:pt idx="119">
                  <c:v>172.3</c:v>
                </c:pt>
                <c:pt idx="120">
                  <c:v>169.2</c:v>
                </c:pt>
                <c:pt idx="121">
                  <c:v>167.1</c:v>
                </c:pt>
                <c:pt idx="122">
                  <c:v>161.80000000000001</c:v>
                </c:pt>
                <c:pt idx="123">
                  <c:v>153.5</c:v>
                </c:pt>
                <c:pt idx="124">
                  <c:v>147.5</c:v>
                </c:pt>
                <c:pt idx="125">
                  <c:v>145.30000000000001</c:v>
                </c:pt>
                <c:pt idx="126">
                  <c:v>141.6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E5B-4197-9496-4090A8A7616F}"/>
            </c:ext>
          </c:extLst>
        </c:ser>
        <c:ser>
          <c:idx val="2"/>
          <c:order val="2"/>
          <c:tx>
            <c:strRef>
              <c:f>'001_13my_2023q3'!$A$6</c:f>
              <c:strCache>
                <c:ptCount val="1"/>
                <c:pt idx="0">
                  <c:v>Koko maa pl. Pk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001_13my_2023q3'!$B$3:$DY$3</c:f>
              <c:numCache>
                <c:formatCode>m/d/yyyy</c:formatCode>
                <c:ptCount val="128"/>
                <c:pt idx="0">
                  <c:v>33604</c:v>
                </c:pt>
                <c:pt idx="1">
                  <c:v>33695</c:v>
                </c:pt>
                <c:pt idx="2">
                  <c:v>33786</c:v>
                </c:pt>
                <c:pt idx="3">
                  <c:v>33878</c:v>
                </c:pt>
                <c:pt idx="4">
                  <c:v>33970</c:v>
                </c:pt>
                <c:pt idx="5">
                  <c:v>34060</c:v>
                </c:pt>
                <c:pt idx="6">
                  <c:v>34151</c:v>
                </c:pt>
                <c:pt idx="7">
                  <c:v>34243</c:v>
                </c:pt>
                <c:pt idx="8">
                  <c:v>34335</c:v>
                </c:pt>
                <c:pt idx="9">
                  <c:v>34425</c:v>
                </c:pt>
                <c:pt idx="10">
                  <c:v>34516</c:v>
                </c:pt>
                <c:pt idx="11">
                  <c:v>34608</c:v>
                </c:pt>
                <c:pt idx="12">
                  <c:v>34700</c:v>
                </c:pt>
                <c:pt idx="13">
                  <c:v>34790</c:v>
                </c:pt>
                <c:pt idx="14">
                  <c:v>34881</c:v>
                </c:pt>
                <c:pt idx="15">
                  <c:v>34973</c:v>
                </c:pt>
                <c:pt idx="16">
                  <c:v>35065</c:v>
                </c:pt>
                <c:pt idx="17">
                  <c:v>35156</c:v>
                </c:pt>
                <c:pt idx="18">
                  <c:v>35247</c:v>
                </c:pt>
                <c:pt idx="19">
                  <c:v>35339</c:v>
                </c:pt>
                <c:pt idx="20">
                  <c:v>35431</c:v>
                </c:pt>
                <c:pt idx="21">
                  <c:v>35521</c:v>
                </c:pt>
                <c:pt idx="22">
                  <c:v>35612</c:v>
                </c:pt>
                <c:pt idx="23">
                  <c:v>35704</c:v>
                </c:pt>
                <c:pt idx="24">
                  <c:v>35796</c:v>
                </c:pt>
                <c:pt idx="25">
                  <c:v>35886</c:v>
                </c:pt>
                <c:pt idx="26">
                  <c:v>35977</c:v>
                </c:pt>
                <c:pt idx="27">
                  <c:v>36069</c:v>
                </c:pt>
                <c:pt idx="28">
                  <c:v>36161</c:v>
                </c:pt>
                <c:pt idx="29">
                  <c:v>36251</c:v>
                </c:pt>
                <c:pt idx="30">
                  <c:v>36342</c:v>
                </c:pt>
                <c:pt idx="31">
                  <c:v>36434</c:v>
                </c:pt>
                <c:pt idx="32">
                  <c:v>36526</c:v>
                </c:pt>
                <c:pt idx="33">
                  <c:v>36617</c:v>
                </c:pt>
                <c:pt idx="34">
                  <c:v>36708</c:v>
                </c:pt>
                <c:pt idx="35">
                  <c:v>36800</c:v>
                </c:pt>
                <c:pt idx="36">
                  <c:v>36892</c:v>
                </c:pt>
                <c:pt idx="37">
                  <c:v>36982</c:v>
                </c:pt>
                <c:pt idx="38">
                  <c:v>37073</c:v>
                </c:pt>
                <c:pt idx="39">
                  <c:v>37165</c:v>
                </c:pt>
                <c:pt idx="40">
                  <c:v>37257</c:v>
                </c:pt>
                <c:pt idx="41">
                  <c:v>37347</c:v>
                </c:pt>
                <c:pt idx="42">
                  <c:v>37438</c:v>
                </c:pt>
                <c:pt idx="43">
                  <c:v>37530</c:v>
                </c:pt>
                <c:pt idx="44">
                  <c:v>37622</c:v>
                </c:pt>
                <c:pt idx="45">
                  <c:v>37712</c:v>
                </c:pt>
                <c:pt idx="46">
                  <c:v>37803</c:v>
                </c:pt>
                <c:pt idx="47">
                  <c:v>37895</c:v>
                </c:pt>
                <c:pt idx="48">
                  <c:v>37987</c:v>
                </c:pt>
                <c:pt idx="49">
                  <c:v>38078</c:v>
                </c:pt>
                <c:pt idx="50">
                  <c:v>38169</c:v>
                </c:pt>
                <c:pt idx="51">
                  <c:v>38261</c:v>
                </c:pt>
                <c:pt idx="52">
                  <c:v>38353</c:v>
                </c:pt>
                <c:pt idx="53">
                  <c:v>38443</c:v>
                </c:pt>
                <c:pt idx="54">
                  <c:v>38534</c:v>
                </c:pt>
                <c:pt idx="55">
                  <c:v>38626</c:v>
                </c:pt>
                <c:pt idx="56">
                  <c:v>38718</c:v>
                </c:pt>
                <c:pt idx="57">
                  <c:v>38808</c:v>
                </c:pt>
                <c:pt idx="58">
                  <c:v>38899</c:v>
                </c:pt>
                <c:pt idx="59">
                  <c:v>38991</c:v>
                </c:pt>
                <c:pt idx="60">
                  <c:v>39083</c:v>
                </c:pt>
                <c:pt idx="61">
                  <c:v>39173</c:v>
                </c:pt>
                <c:pt idx="62">
                  <c:v>39264</c:v>
                </c:pt>
                <c:pt idx="63">
                  <c:v>39356</c:v>
                </c:pt>
                <c:pt idx="64">
                  <c:v>39448</c:v>
                </c:pt>
                <c:pt idx="65">
                  <c:v>39539</c:v>
                </c:pt>
                <c:pt idx="66">
                  <c:v>39630</c:v>
                </c:pt>
                <c:pt idx="67">
                  <c:v>39722</c:v>
                </c:pt>
                <c:pt idx="68">
                  <c:v>39814</c:v>
                </c:pt>
                <c:pt idx="69">
                  <c:v>39904</c:v>
                </c:pt>
                <c:pt idx="70">
                  <c:v>39995</c:v>
                </c:pt>
                <c:pt idx="71">
                  <c:v>40087</c:v>
                </c:pt>
                <c:pt idx="72">
                  <c:v>40179</c:v>
                </c:pt>
                <c:pt idx="73">
                  <c:v>40269</c:v>
                </c:pt>
                <c:pt idx="74">
                  <c:v>40360</c:v>
                </c:pt>
                <c:pt idx="75">
                  <c:v>40452</c:v>
                </c:pt>
                <c:pt idx="76">
                  <c:v>40544</c:v>
                </c:pt>
                <c:pt idx="77">
                  <c:v>40634</c:v>
                </c:pt>
                <c:pt idx="78">
                  <c:v>40725</c:v>
                </c:pt>
                <c:pt idx="79">
                  <c:v>40817</c:v>
                </c:pt>
                <c:pt idx="80">
                  <c:v>40909</c:v>
                </c:pt>
                <c:pt idx="81">
                  <c:v>41000</c:v>
                </c:pt>
                <c:pt idx="82">
                  <c:v>41091</c:v>
                </c:pt>
                <c:pt idx="83">
                  <c:v>41183</c:v>
                </c:pt>
                <c:pt idx="84">
                  <c:v>41275</c:v>
                </c:pt>
                <c:pt idx="85">
                  <c:v>41365</c:v>
                </c:pt>
                <c:pt idx="86">
                  <c:v>41456</c:v>
                </c:pt>
                <c:pt idx="87">
                  <c:v>41548</c:v>
                </c:pt>
                <c:pt idx="88">
                  <c:v>41640</c:v>
                </c:pt>
                <c:pt idx="89">
                  <c:v>41730</c:v>
                </c:pt>
                <c:pt idx="90">
                  <c:v>41821</c:v>
                </c:pt>
                <c:pt idx="91">
                  <c:v>41913</c:v>
                </c:pt>
                <c:pt idx="92">
                  <c:v>42005</c:v>
                </c:pt>
                <c:pt idx="93">
                  <c:v>42095</c:v>
                </c:pt>
                <c:pt idx="94">
                  <c:v>42186</c:v>
                </c:pt>
                <c:pt idx="95">
                  <c:v>42278</c:v>
                </c:pt>
                <c:pt idx="96">
                  <c:v>42370</c:v>
                </c:pt>
                <c:pt idx="97">
                  <c:v>42461</c:v>
                </c:pt>
                <c:pt idx="98">
                  <c:v>42552</c:v>
                </c:pt>
                <c:pt idx="99">
                  <c:v>42644</c:v>
                </c:pt>
                <c:pt idx="100">
                  <c:v>42736</c:v>
                </c:pt>
                <c:pt idx="101">
                  <c:v>42826</c:v>
                </c:pt>
                <c:pt idx="102">
                  <c:v>42917</c:v>
                </c:pt>
                <c:pt idx="103">
                  <c:v>43009</c:v>
                </c:pt>
                <c:pt idx="104">
                  <c:v>43101</c:v>
                </c:pt>
                <c:pt idx="105">
                  <c:v>43191</c:v>
                </c:pt>
                <c:pt idx="106">
                  <c:v>43282</c:v>
                </c:pt>
                <c:pt idx="107">
                  <c:v>43374</c:v>
                </c:pt>
                <c:pt idx="108">
                  <c:v>43466</c:v>
                </c:pt>
                <c:pt idx="109">
                  <c:v>43556</c:v>
                </c:pt>
                <c:pt idx="110">
                  <c:v>43647</c:v>
                </c:pt>
                <c:pt idx="111">
                  <c:v>43739</c:v>
                </c:pt>
                <c:pt idx="112">
                  <c:v>43831</c:v>
                </c:pt>
                <c:pt idx="113">
                  <c:v>43922</c:v>
                </c:pt>
                <c:pt idx="114">
                  <c:v>44013</c:v>
                </c:pt>
                <c:pt idx="115">
                  <c:v>44105</c:v>
                </c:pt>
                <c:pt idx="116">
                  <c:v>44197</c:v>
                </c:pt>
                <c:pt idx="117">
                  <c:v>44287</c:v>
                </c:pt>
                <c:pt idx="118">
                  <c:v>44378</c:v>
                </c:pt>
                <c:pt idx="119">
                  <c:v>44470</c:v>
                </c:pt>
                <c:pt idx="120">
                  <c:v>44562</c:v>
                </c:pt>
                <c:pt idx="121">
                  <c:v>44652</c:v>
                </c:pt>
                <c:pt idx="122">
                  <c:v>44743</c:v>
                </c:pt>
                <c:pt idx="123">
                  <c:v>44835</c:v>
                </c:pt>
                <c:pt idx="124">
                  <c:v>44927</c:v>
                </c:pt>
                <c:pt idx="125">
                  <c:v>45017</c:v>
                </c:pt>
                <c:pt idx="126">
                  <c:v>45108</c:v>
                </c:pt>
                <c:pt idx="127">
                  <c:v>45200</c:v>
                </c:pt>
              </c:numCache>
            </c:numRef>
          </c:cat>
          <c:val>
            <c:numRef>
              <c:f>'001_13my_2023q3'!$B$6:$DY$6</c:f>
              <c:numCache>
                <c:formatCode>0.0</c:formatCode>
                <c:ptCount val="128"/>
                <c:pt idx="0">
                  <c:v>115</c:v>
                </c:pt>
                <c:pt idx="1">
                  <c:v>109.9</c:v>
                </c:pt>
                <c:pt idx="2">
                  <c:v>101.8</c:v>
                </c:pt>
                <c:pt idx="3">
                  <c:v>96</c:v>
                </c:pt>
                <c:pt idx="4">
                  <c:v>92.2</c:v>
                </c:pt>
                <c:pt idx="5">
                  <c:v>91.5</c:v>
                </c:pt>
                <c:pt idx="6">
                  <c:v>91.8</c:v>
                </c:pt>
                <c:pt idx="7">
                  <c:v>94.9</c:v>
                </c:pt>
                <c:pt idx="8">
                  <c:v>95.8</c:v>
                </c:pt>
                <c:pt idx="9">
                  <c:v>96.3</c:v>
                </c:pt>
                <c:pt idx="10">
                  <c:v>94.2</c:v>
                </c:pt>
                <c:pt idx="11">
                  <c:v>92.9</c:v>
                </c:pt>
                <c:pt idx="12">
                  <c:v>93.3</c:v>
                </c:pt>
                <c:pt idx="13">
                  <c:v>92.9</c:v>
                </c:pt>
                <c:pt idx="14">
                  <c:v>91.3</c:v>
                </c:pt>
                <c:pt idx="15">
                  <c:v>91</c:v>
                </c:pt>
                <c:pt idx="16">
                  <c:v>92.3</c:v>
                </c:pt>
                <c:pt idx="17">
                  <c:v>94.9</c:v>
                </c:pt>
                <c:pt idx="18">
                  <c:v>97.6</c:v>
                </c:pt>
                <c:pt idx="19">
                  <c:v>100.2</c:v>
                </c:pt>
                <c:pt idx="20">
                  <c:v>106.3</c:v>
                </c:pt>
                <c:pt idx="21">
                  <c:v>109</c:v>
                </c:pt>
                <c:pt idx="22">
                  <c:v>110.3</c:v>
                </c:pt>
                <c:pt idx="23">
                  <c:v>112.1</c:v>
                </c:pt>
                <c:pt idx="24">
                  <c:v>114.6</c:v>
                </c:pt>
                <c:pt idx="25">
                  <c:v>116.8</c:v>
                </c:pt>
                <c:pt idx="26">
                  <c:v>119.5</c:v>
                </c:pt>
                <c:pt idx="27">
                  <c:v>120.5</c:v>
                </c:pt>
                <c:pt idx="28">
                  <c:v>122.5</c:v>
                </c:pt>
                <c:pt idx="29">
                  <c:v>123.9</c:v>
                </c:pt>
                <c:pt idx="30">
                  <c:v>127.3</c:v>
                </c:pt>
                <c:pt idx="31">
                  <c:v>128.30000000000001</c:v>
                </c:pt>
                <c:pt idx="32">
                  <c:v>128.69999999999999</c:v>
                </c:pt>
                <c:pt idx="33">
                  <c:v>129</c:v>
                </c:pt>
                <c:pt idx="34">
                  <c:v>125.4</c:v>
                </c:pt>
                <c:pt idx="35">
                  <c:v>122.6</c:v>
                </c:pt>
                <c:pt idx="36">
                  <c:v>123</c:v>
                </c:pt>
                <c:pt idx="37">
                  <c:v>122.5</c:v>
                </c:pt>
                <c:pt idx="38">
                  <c:v>121.5</c:v>
                </c:pt>
                <c:pt idx="39">
                  <c:v>122.2</c:v>
                </c:pt>
                <c:pt idx="40">
                  <c:v>125</c:v>
                </c:pt>
                <c:pt idx="41">
                  <c:v>126.8</c:v>
                </c:pt>
                <c:pt idx="42">
                  <c:v>128.5</c:v>
                </c:pt>
                <c:pt idx="43">
                  <c:v>129.80000000000001</c:v>
                </c:pt>
                <c:pt idx="44">
                  <c:v>131.1</c:v>
                </c:pt>
                <c:pt idx="45">
                  <c:v>132.69999999999999</c:v>
                </c:pt>
                <c:pt idx="46">
                  <c:v>136.4</c:v>
                </c:pt>
                <c:pt idx="47">
                  <c:v>138</c:v>
                </c:pt>
                <c:pt idx="48">
                  <c:v>142.1</c:v>
                </c:pt>
                <c:pt idx="49">
                  <c:v>145.6</c:v>
                </c:pt>
                <c:pt idx="50">
                  <c:v>146.19999999999999</c:v>
                </c:pt>
                <c:pt idx="51">
                  <c:v>146.6</c:v>
                </c:pt>
                <c:pt idx="52">
                  <c:v>150.19999999999999</c:v>
                </c:pt>
                <c:pt idx="53">
                  <c:v>152.9</c:v>
                </c:pt>
                <c:pt idx="54">
                  <c:v>155.69999999999999</c:v>
                </c:pt>
                <c:pt idx="55">
                  <c:v>157.5</c:v>
                </c:pt>
                <c:pt idx="56">
                  <c:v>159.1</c:v>
                </c:pt>
                <c:pt idx="57">
                  <c:v>160</c:v>
                </c:pt>
                <c:pt idx="58">
                  <c:v>161.19999999999999</c:v>
                </c:pt>
                <c:pt idx="59">
                  <c:v>162.4</c:v>
                </c:pt>
                <c:pt idx="60">
                  <c:v>163.5</c:v>
                </c:pt>
                <c:pt idx="61">
                  <c:v>163.80000000000001</c:v>
                </c:pt>
                <c:pt idx="62">
                  <c:v>164.3</c:v>
                </c:pt>
                <c:pt idx="63">
                  <c:v>162.80000000000001</c:v>
                </c:pt>
                <c:pt idx="64">
                  <c:v>162.19999999999999</c:v>
                </c:pt>
                <c:pt idx="65">
                  <c:v>160.1</c:v>
                </c:pt>
                <c:pt idx="66">
                  <c:v>158.4</c:v>
                </c:pt>
                <c:pt idx="67">
                  <c:v>152.19999999999999</c:v>
                </c:pt>
                <c:pt idx="68">
                  <c:v>152.69999999999999</c:v>
                </c:pt>
                <c:pt idx="69">
                  <c:v>155.9</c:v>
                </c:pt>
                <c:pt idx="70">
                  <c:v>158.6</c:v>
                </c:pt>
                <c:pt idx="71">
                  <c:v>162.5</c:v>
                </c:pt>
                <c:pt idx="72">
                  <c:v>164.2</c:v>
                </c:pt>
                <c:pt idx="73">
                  <c:v>165.7</c:v>
                </c:pt>
                <c:pt idx="74">
                  <c:v>167.5</c:v>
                </c:pt>
                <c:pt idx="75">
                  <c:v>165.2</c:v>
                </c:pt>
                <c:pt idx="76">
                  <c:v>164.8</c:v>
                </c:pt>
                <c:pt idx="77">
                  <c:v>164.5</c:v>
                </c:pt>
                <c:pt idx="78">
                  <c:v>164.3</c:v>
                </c:pt>
                <c:pt idx="79">
                  <c:v>160.4</c:v>
                </c:pt>
                <c:pt idx="80">
                  <c:v>160.30000000000001</c:v>
                </c:pt>
                <c:pt idx="81">
                  <c:v>161.30000000000001</c:v>
                </c:pt>
                <c:pt idx="82">
                  <c:v>161.9</c:v>
                </c:pt>
                <c:pt idx="83">
                  <c:v>159.5</c:v>
                </c:pt>
                <c:pt idx="84">
                  <c:v>159.9</c:v>
                </c:pt>
                <c:pt idx="85">
                  <c:v>160.80000000000001</c:v>
                </c:pt>
                <c:pt idx="86">
                  <c:v>159.6</c:v>
                </c:pt>
                <c:pt idx="87">
                  <c:v>158.69999999999999</c:v>
                </c:pt>
                <c:pt idx="88">
                  <c:v>156.6</c:v>
                </c:pt>
                <c:pt idx="89">
                  <c:v>156.69999999999999</c:v>
                </c:pt>
                <c:pt idx="90">
                  <c:v>156.6</c:v>
                </c:pt>
                <c:pt idx="91">
                  <c:v>154.69999999999999</c:v>
                </c:pt>
                <c:pt idx="92">
                  <c:v>154.19999999999999</c:v>
                </c:pt>
                <c:pt idx="93">
                  <c:v>154.9</c:v>
                </c:pt>
                <c:pt idx="94">
                  <c:v>154.5</c:v>
                </c:pt>
                <c:pt idx="95">
                  <c:v>153.1</c:v>
                </c:pt>
                <c:pt idx="96">
                  <c:v>154.19999999999999</c:v>
                </c:pt>
                <c:pt idx="97">
                  <c:v>153.80000000000001</c:v>
                </c:pt>
                <c:pt idx="98">
                  <c:v>153.9</c:v>
                </c:pt>
                <c:pt idx="99">
                  <c:v>151.19999999999999</c:v>
                </c:pt>
                <c:pt idx="100">
                  <c:v>151.19999999999999</c:v>
                </c:pt>
                <c:pt idx="101">
                  <c:v>152.30000000000001</c:v>
                </c:pt>
                <c:pt idx="102">
                  <c:v>152</c:v>
                </c:pt>
                <c:pt idx="103">
                  <c:v>150.6</c:v>
                </c:pt>
                <c:pt idx="104">
                  <c:v>148.9</c:v>
                </c:pt>
                <c:pt idx="105">
                  <c:v>150.6</c:v>
                </c:pt>
                <c:pt idx="106">
                  <c:v>149</c:v>
                </c:pt>
                <c:pt idx="107">
                  <c:v>147.4</c:v>
                </c:pt>
                <c:pt idx="108">
                  <c:v>146.80000000000001</c:v>
                </c:pt>
                <c:pt idx="109">
                  <c:v>147.80000000000001</c:v>
                </c:pt>
                <c:pt idx="110">
                  <c:v>146.4</c:v>
                </c:pt>
                <c:pt idx="111">
                  <c:v>142.6</c:v>
                </c:pt>
                <c:pt idx="112">
                  <c:v>144.5</c:v>
                </c:pt>
                <c:pt idx="113">
                  <c:v>144</c:v>
                </c:pt>
                <c:pt idx="114">
                  <c:v>145.30000000000001</c:v>
                </c:pt>
                <c:pt idx="115">
                  <c:v>144.6</c:v>
                </c:pt>
                <c:pt idx="116">
                  <c:v>143</c:v>
                </c:pt>
                <c:pt idx="117">
                  <c:v>146.1</c:v>
                </c:pt>
                <c:pt idx="118">
                  <c:v>145.5</c:v>
                </c:pt>
                <c:pt idx="119">
                  <c:v>142.69999999999999</c:v>
                </c:pt>
                <c:pt idx="120">
                  <c:v>140.80000000000001</c:v>
                </c:pt>
                <c:pt idx="121">
                  <c:v>139.30000000000001</c:v>
                </c:pt>
                <c:pt idx="122">
                  <c:v>135.69999999999999</c:v>
                </c:pt>
                <c:pt idx="123">
                  <c:v>128.5</c:v>
                </c:pt>
                <c:pt idx="124">
                  <c:v>124</c:v>
                </c:pt>
                <c:pt idx="125">
                  <c:v>123.3</c:v>
                </c:pt>
                <c:pt idx="126">
                  <c:v>12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E5B-4197-9496-4090A8A761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88089048"/>
        <c:axId val="788089408"/>
      </c:lineChart>
      <c:dateAx>
        <c:axId val="788089048"/>
        <c:scaling>
          <c:orientation val="minMax"/>
        </c:scaling>
        <c:delete val="0"/>
        <c:axPos val="b"/>
        <c:numFmt formatCode="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8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788089408"/>
        <c:crosses val="autoZero"/>
        <c:auto val="1"/>
        <c:lblOffset val="100"/>
        <c:baseTimeUnit val="months"/>
        <c:majorUnit val="24"/>
        <c:majorTimeUnit val="months"/>
      </c:dateAx>
      <c:valAx>
        <c:axId val="788089408"/>
        <c:scaling>
          <c:orientation val="minMax"/>
          <c:min val="7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8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788089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F1F3F5"/>
    </a:solidFill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fi-FI" sz="900"/>
              <a:t> Määräindeksi 2018=100</a:t>
            </a:r>
          </a:p>
        </c:rich>
      </c:tx>
      <c:layout>
        <c:manualLayout>
          <c:xMode val="edge"/>
          <c:yMode val="edge"/>
          <c:x val="0.12857750896057349"/>
          <c:y val="2.6970778117567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0.1205668425210423"/>
          <c:y val="0.1089717125382263"/>
          <c:w val="0.83294610763299393"/>
          <c:h val="0.79286399932042129"/>
        </c:manualLayout>
      </c:layout>
      <c:barChart>
        <c:barDir val="col"/>
        <c:grouping val="clustered"/>
        <c:varyColors val="0"/>
        <c:ser>
          <c:idx val="1"/>
          <c:order val="1"/>
          <c:spPr>
            <a:solidFill>
              <a:srgbClr val="788797"/>
            </a:solidFill>
            <a:ln>
              <a:noFill/>
            </a:ln>
            <a:effectLst/>
          </c:spPr>
          <c:invertIfNegative val="0"/>
          <c:cat>
            <c:strRef>
              <c:f>'Volyymit pääennuste'!$A$4:$A$11</c:f>
              <c:strCache>
                <c:ptCount val="8"/>
                <c:pt idx="0">
                  <c:v>18</c:v>
                </c:pt>
                <c:pt idx="1">
                  <c:v>19</c:v>
                </c:pt>
                <c:pt idx="2">
                  <c:v>20</c:v>
                </c:pt>
                <c:pt idx="3">
                  <c:v>21</c:v>
                </c:pt>
                <c:pt idx="4">
                  <c:v>22</c:v>
                </c:pt>
                <c:pt idx="5">
                  <c:v>23</c:v>
                </c:pt>
                <c:pt idx="6">
                  <c:v>24</c:v>
                </c:pt>
                <c:pt idx="7">
                  <c:v>25</c:v>
                </c:pt>
              </c:strCache>
            </c:strRef>
          </c:cat>
          <c:val>
            <c:numRef>
              <c:f>'Volyymit pääennuste'!$C$4:$C$11</c:f>
              <c:numCache>
                <c:formatCode>General</c:formatCode>
                <c:ptCount val="8"/>
                <c:pt idx="5">
                  <c:v>105</c:v>
                </c:pt>
                <c:pt idx="6">
                  <c:v>105</c:v>
                </c:pt>
                <c:pt idx="7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78-4654-9EC3-1B7067CDA0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92007664"/>
        <c:axId val="492016520"/>
      </c:barChart>
      <c:lineChart>
        <c:grouping val="standard"/>
        <c:varyColors val="0"/>
        <c:ser>
          <c:idx val="0"/>
          <c:order val="0"/>
          <c:spPr>
            <a:ln w="57150" cap="rnd">
              <a:solidFill>
                <a:srgbClr val="31D5C3"/>
              </a:solidFill>
              <a:round/>
            </a:ln>
            <a:effectLst/>
          </c:spPr>
          <c:marker>
            <c:symbol val="none"/>
          </c:marker>
          <c:cat>
            <c:strRef>
              <c:f>'Volyymit pääennuste'!$A$4:$A$11</c:f>
              <c:strCache>
                <c:ptCount val="8"/>
                <c:pt idx="0">
                  <c:v>18</c:v>
                </c:pt>
                <c:pt idx="1">
                  <c:v>19</c:v>
                </c:pt>
                <c:pt idx="2">
                  <c:v>20</c:v>
                </c:pt>
                <c:pt idx="3">
                  <c:v>21</c:v>
                </c:pt>
                <c:pt idx="4">
                  <c:v>22</c:v>
                </c:pt>
                <c:pt idx="5">
                  <c:v>23</c:v>
                </c:pt>
                <c:pt idx="6">
                  <c:v>24</c:v>
                </c:pt>
                <c:pt idx="7">
                  <c:v>25</c:v>
                </c:pt>
              </c:strCache>
            </c:strRef>
          </c:cat>
          <c:val>
            <c:numRef>
              <c:f>'Volyymit pääennuste'!$B$4:$B$11</c:f>
              <c:numCache>
                <c:formatCode>General</c:formatCode>
                <c:ptCount val="8"/>
                <c:pt idx="0">
                  <c:v>100</c:v>
                </c:pt>
                <c:pt idx="1">
                  <c:v>91.6</c:v>
                </c:pt>
                <c:pt idx="2">
                  <c:v>83.6</c:v>
                </c:pt>
                <c:pt idx="3">
                  <c:v>92.3</c:v>
                </c:pt>
                <c:pt idx="4">
                  <c:v>100.2</c:v>
                </c:pt>
                <c:pt idx="5">
                  <c:v>62.2</c:v>
                </c:pt>
                <c:pt idx="6">
                  <c:v>40.200000000000003</c:v>
                </c:pt>
                <c:pt idx="7">
                  <c:v>47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678-4654-9EC3-1B7067CDA0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2007664"/>
        <c:axId val="492016520"/>
      </c:lineChart>
      <c:catAx>
        <c:axId val="49200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92016520"/>
        <c:crosses val="autoZero"/>
        <c:auto val="1"/>
        <c:lblAlgn val="ctr"/>
        <c:lblOffset val="100"/>
        <c:noMultiLvlLbl val="0"/>
      </c:catAx>
      <c:valAx>
        <c:axId val="492016520"/>
        <c:scaling>
          <c:orientation val="minMax"/>
          <c:max val="105"/>
          <c:min val="3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92007664"/>
        <c:crosses val="autoZero"/>
        <c:crossBetween val="between"/>
        <c:majorUnit val="10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rgbClr val="002060"/>
          </a:solidFill>
        </a:defRPr>
      </a:pPr>
      <a:endParaRPr lang="fi-FI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fi-FI" sz="900"/>
              <a:t> Määräindeksi 2018=100</a:t>
            </a:r>
          </a:p>
        </c:rich>
      </c:tx>
      <c:layout>
        <c:manualLayout>
          <c:xMode val="edge"/>
          <c:yMode val="edge"/>
          <c:x val="0.1171975806451613"/>
          <c:y val="3.23649337410805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0.1205668425210423"/>
          <c:y val="0.1089717125382263"/>
          <c:w val="0.83294610763299393"/>
          <c:h val="0.79286399932042129"/>
        </c:manualLayout>
      </c:layout>
      <c:barChart>
        <c:barDir val="col"/>
        <c:grouping val="clustered"/>
        <c:varyColors val="0"/>
        <c:ser>
          <c:idx val="1"/>
          <c:order val="1"/>
          <c:spPr>
            <a:solidFill>
              <a:srgbClr val="788797"/>
            </a:solidFill>
            <a:ln>
              <a:noFill/>
            </a:ln>
            <a:effectLst/>
          </c:spPr>
          <c:invertIfNegative val="0"/>
          <c:cat>
            <c:strRef>
              <c:f>'Volyymit pääennuste'!$A$13:$A$20</c:f>
              <c:strCache>
                <c:ptCount val="8"/>
                <c:pt idx="0">
                  <c:v>18</c:v>
                </c:pt>
                <c:pt idx="1">
                  <c:v>19</c:v>
                </c:pt>
                <c:pt idx="2">
                  <c:v>20</c:v>
                </c:pt>
                <c:pt idx="3">
                  <c:v>21</c:v>
                </c:pt>
                <c:pt idx="4">
                  <c:v>22</c:v>
                </c:pt>
                <c:pt idx="5">
                  <c:v>23</c:v>
                </c:pt>
                <c:pt idx="6">
                  <c:v>24</c:v>
                </c:pt>
                <c:pt idx="7">
                  <c:v>25</c:v>
                </c:pt>
              </c:strCache>
            </c:strRef>
          </c:cat>
          <c:val>
            <c:numRef>
              <c:f>'Volyymit pääennuste'!$C$13:$C$20</c:f>
              <c:numCache>
                <c:formatCode>General</c:formatCode>
                <c:ptCount val="8"/>
                <c:pt idx="5">
                  <c:v>105</c:v>
                </c:pt>
                <c:pt idx="6">
                  <c:v>105</c:v>
                </c:pt>
                <c:pt idx="7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E7-49D2-AEC4-4DAC63A006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92007664"/>
        <c:axId val="492016520"/>
      </c:barChart>
      <c:lineChart>
        <c:grouping val="standard"/>
        <c:varyColors val="0"/>
        <c:ser>
          <c:idx val="0"/>
          <c:order val="0"/>
          <c:spPr>
            <a:ln w="57150" cap="rnd">
              <a:solidFill>
                <a:srgbClr val="31D5C3"/>
              </a:solidFill>
              <a:round/>
            </a:ln>
            <a:effectLst/>
          </c:spPr>
          <c:marker>
            <c:symbol val="none"/>
          </c:marker>
          <c:cat>
            <c:strRef>
              <c:f>'Volyymit pääennuste'!$A$13:$A$20</c:f>
              <c:strCache>
                <c:ptCount val="8"/>
                <c:pt idx="0">
                  <c:v>18</c:v>
                </c:pt>
                <c:pt idx="1">
                  <c:v>19</c:v>
                </c:pt>
                <c:pt idx="2">
                  <c:v>20</c:v>
                </c:pt>
                <c:pt idx="3">
                  <c:v>21</c:v>
                </c:pt>
                <c:pt idx="4">
                  <c:v>22</c:v>
                </c:pt>
                <c:pt idx="5">
                  <c:v>23</c:v>
                </c:pt>
                <c:pt idx="6">
                  <c:v>24</c:v>
                </c:pt>
                <c:pt idx="7">
                  <c:v>25</c:v>
                </c:pt>
              </c:strCache>
            </c:strRef>
          </c:cat>
          <c:val>
            <c:numRef>
              <c:f>'Volyymit pääennuste'!$B$13:$B$20</c:f>
              <c:numCache>
                <c:formatCode>General</c:formatCode>
                <c:ptCount val="8"/>
                <c:pt idx="0">
                  <c:v>100</c:v>
                </c:pt>
                <c:pt idx="1">
                  <c:v>102.7</c:v>
                </c:pt>
                <c:pt idx="2">
                  <c:v>98</c:v>
                </c:pt>
                <c:pt idx="3">
                  <c:v>95</c:v>
                </c:pt>
                <c:pt idx="4">
                  <c:v>96.1</c:v>
                </c:pt>
                <c:pt idx="5">
                  <c:v>90.699999999999989</c:v>
                </c:pt>
                <c:pt idx="6">
                  <c:v>91.899999999999991</c:v>
                </c:pt>
                <c:pt idx="7">
                  <c:v>91.4999999999999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AE7-49D2-AEC4-4DAC63A006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2007664"/>
        <c:axId val="492016520"/>
      </c:lineChart>
      <c:catAx>
        <c:axId val="49200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92016520"/>
        <c:crosses val="autoZero"/>
        <c:auto val="1"/>
        <c:lblAlgn val="ctr"/>
        <c:lblOffset val="100"/>
        <c:noMultiLvlLbl val="0"/>
      </c:catAx>
      <c:valAx>
        <c:axId val="492016520"/>
        <c:scaling>
          <c:orientation val="minMax"/>
          <c:max val="104"/>
          <c:min val="9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92007664"/>
        <c:crosses val="autoZero"/>
        <c:crossBetween val="between"/>
        <c:majorUnit val="2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rgbClr val="002060"/>
          </a:solidFill>
        </a:defRPr>
      </a:pPr>
      <a:endParaRPr lang="fi-FI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fi-FI" sz="900"/>
              <a:t> Määräindeksi 2018=100</a:t>
            </a:r>
          </a:p>
        </c:rich>
      </c:tx>
      <c:layout>
        <c:manualLayout>
          <c:xMode val="edge"/>
          <c:yMode val="edge"/>
          <c:x val="0.13426747311827958"/>
          <c:y val="2.6970778117567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0.1205668425210423"/>
          <c:y val="0.1089717125382263"/>
          <c:w val="0.83294610763299393"/>
          <c:h val="0.79286399932042129"/>
        </c:manualLayout>
      </c:layout>
      <c:barChart>
        <c:barDir val="col"/>
        <c:grouping val="clustered"/>
        <c:varyColors val="0"/>
        <c:ser>
          <c:idx val="1"/>
          <c:order val="1"/>
          <c:spPr>
            <a:solidFill>
              <a:srgbClr val="788797"/>
            </a:solidFill>
            <a:ln>
              <a:noFill/>
            </a:ln>
            <a:effectLst/>
          </c:spPr>
          <c:invertIfNegative val="0"/>
          <c:cat>
            <c:strRef>
              <c:f>'Volyymit pääennuste'!$A$26:$A$33</c:f>
              <c:strCache>
                <c:ptCount val="8"/>
                <c:pt idx="0">
                  <c:v>18</c:v>
                </c:pt>
                <c:pt idx="1">
                  <c:v>19</c:v>
                </c:pt>
                <c:pt idx="2">
                  <c:v>20</c:v>
                </c:pt>
                <c:pt idx="3">
                  <c:v>21</c:v>
                </c:pt>
                <c:pt idx="4">
                  <c:v>22</c:v>
                </c:pt>
                <c:pt idx="5">
                  <c:v>23</c:v>
                </c:pt>
                <c:pt idx="6">
                  <c:v>24</c:v>
                </c:pt>
                <c:pt idx="7">
                  <c:v>25</c:v>
                </c:pt>
              </c:strCache>
            </c:strRef>
          </c:cat>
          <c:val>
            <c:numRef>
              <c:f>'Volyymit pääennuste'!$C$26:$C$33</c:f>
              <c:numCache>
                <c:formatCode>General</c:formatCode>
                <c:ptCount val="8"/>
                <c:pt idx="5">
                  <c:v>105</c:v>
                </c:pt>
                <c:pt idx="6">
                  <c:v>105</c:v>
                </c:pt>
                <c:pt idx="7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27-46A8-BB5D-A813637195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92007664"/>
        <c:axId val="492016520"/>
      </c:barChart>
      <c:lineChart>
        <c:grouping val="standard"/>
        <c:varyColors val="0"/>
        <c:ser>
          <c:idx val="0"/>
          <c:order val="0"/>
          <c:spPr>
            <a:ln w="57150" cap="rnd">
              <a:solidFill>
                <a:srgbClr val="31D5C3"/>
              </a:solidFill>
              <a:round/>
            </a:ln>
            <a:effectLst/>
          </c:spPr>
          <c:marker>
            <c:symbol val="none"/>
          </c:marker>
          <c:cat>
            <c:strRef>
              <c:f>'Volyymit pääennuste'!$A$26:$A$33</c:f>
              <c:strCache>
                <c:ptCount val="8"/>
                <c:pt idx="0">
                  <c:v>18</c:v>
                </c:pt>
                <c:pt idx="1">
                  <c:v>19</c:v>
                </c:pt>
                <c:pt idx="2">
                  <c:v>20</c:v>
                </c:pt>
                <c:pt idx="3">
                  <c:v>21</c:v>
                </c:pt>
                <c:pt idx="4">
                  <c:v>22</c:v>
                </c:pt>
                <c:pt idx="5">
                  <c:v>23</c:v>
                </c:pt>
                <c:pt idx="6">
                  <c:v>24</c:v>
                </c:pt>
                <c:pt idx="7">
                  <c:v>25</c:v>
                </c:pt>
              </c:strCache>
            </c:strRef>
          </c:cat>
          <c:val>
            <c:numRef>
              <c:f>'Volyymit pääennuste'!$B$26:$B$33</c:f>
              <c:numCache>
                <c:formatCode>General</c:formatCode>
                <c:ptCount val="8"/>
                <c:pt idx="0">
                  <c:v>100</c:v>
                </c:pt>
                <c:pt idx="1">
                  <c:v>99.2</c:v>
                </c:pt>
                <c:pt idx="2">
                  <c:v>97.8</c:v>
                </c:pt>
                <c:pt idx="3">
                  <c:v>90.8</c:v>
                </c:pt>
                <c:pt idx="4">
                  <c:v>93.899999999999991</c:v>
                </c:pt>
                <c:pt idx="5">
                  <c:v>89.899999999999991</c:v>
                </c:pt>
                <c:pt idx="6">
                  <c:v>88.899999999999991</c:v>
                </c:pt>
                <c:pt idx="7">
                  <c:v>89.8999999999999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27-46A8-BB5D-A813637195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2007664"/>
        <c:axId val="492016520"/>
      </c:lineChart>
      <c:catAx>
        <c:axId val="49200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92016520"/>
        <c:crosses val="autoZero"/>
        <c:auto val="1"/>
        <c:lblAlgn val="ctr"/>
        <c:lblOffset val="100"/>
        <c:noMultiLvlLbl val="0"/>
      </c:catAx>
      <c:valAx>
        <c:axId val="492016520"/>
        <c:scaling>
          <c:orientation val="minMax"/>
          <c:max val="102"/>
          <c:min val="86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92007664"/>
        <c:crosses val="autoZero"/>
        <c:crossBetween val="between"/>
        <c:majorUnit val="2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rgbClr val="002060"/>
          </a:solidFill>
        </a:defRPr>
      </a:pPr>
      <a:endParaRPr lang="fi-FI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fi-FI" sz="900"/>
              <a:t> Määräindeksi 2018=100</a:t>
            </a:r>
          </a:p>
        </c:rich>
      </c:tx>
      <c:layout>
        <c:manualLayout>
          <c:xMode val="edge"/>
          <c:yMode val="edge"/>
          <c:x val="0.1171975806451613"/>
          <c:y val="3.77590893645939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0.1205668425210423"/>
          <c:y val="0.1089717125382263"/>
          <c:w val="0.83294610763299393"/>
          <c:h val="0.79286399932042129"/>
        </c:manualLayout>
      </c:layout>
      <c:barChart>
        <c:barDir val="col"/>
        <c:grouping val="clustered"/>
        <c:varyColors val="0"/>
        <c:ser>
          <c:idx val="1"/>
          <c:order val="1"/>
          <c:spPr>
            <a:solidFill>
              <a:srgbClr val="788797"/>
            </a:solidFill>
            <a:ln>
              <a:noFill/>
            </a:ln>
            <a:effectLst/>
          </c:spPr>
          <c:invertIfNegative val="0"/>
          <c:cat>
            <c:strRef>
              <c:f>'Volyymit pääennuste'!$A$40:$A$47</c:f>
              <c:strCache>
                <c:ptCount val="8"/>
                <c:pt idx="0">
                  <c:v>18</c:v>
                </c:pt>
                <c:pt idx="1">
                  <c:v>19</c:v>
                </c:pt>
                <c:pt idx="2">
                  <c:v>20</c:v>
                </c:pt>
                <c:pt idx="3">
                  <c:v>21</c:v>
                </c:pt>
                <c:pt idx="4">
                  <c:v>22</c:v>
                </c:pt>
                <c:pt idx="5">
                  <c:v>23</c:v>
                </c:pt>
                <c:pt idx="6">
                  <c:v>24</c:v>
                </c:pt>
                <c:pt idx="7">
                  <c:v>25</c:v>
                </c:pt>
              </c:strCache>
            </c:strRef>
          </c:cat>
          <c:val>
            <c:numRef>
              <c:f>'Volyymit pääennuste'!$C$40:$C$47</c:f>
              <c:numCache>
                <c:formatCode>General</c:formatCode>
                <c:ptCount val="8"/>
                <c:pt idx="5">
                  <c:v>110</c:v>
                </c:pt>
                <c:pt idx="6">
                  <c:v>110</c:v>
                </c:pt>
                <c:pt idx="7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4C-4805-B0E1-9C27E3EC99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92007664"/>
        <c:axId val="492016520"/>
      </c:barChart>
      <c:lineChart>
        <c:grouping val="standard"/>
        <c:varyColors val="0"/>
        <c:ser>
          <c:idx val="0"/>
          <c:order val="0"/>
          <c:spPr>
            <a:ln w="57150" cap="rnd">
              <a:solidFill>
                <a:srgbClr val="31D5C3"/>
              </a:solidFill>
              <a:round/>
            </a:ln>
            <a:effectLst/>
          </c:spPr>
          <c:marker>
            <c:symbol val="none"/>
          </c:marker>
          <c:cat>
            <c:strRef>
              <c:f>'Volyymit pääennuste'!$A$40:$A$47</c:f>
              <c:strCache>
                <c:ptCount val="8"/>
                <c:pt idx="0">
                  <c:v>18</c:v>
                </c:pt>
                <c:pt idx="1">
                  <c:v>19</c:v>
                </c:pt>
                <c:pt idx="2">
                  <c:v>20</c:v>
                </c:pt>
                <c:pt idx="3">
                  <c:v>21</c:v>
                </c:pt>
                <c:pt idx="4">
                  <c:v>22</c:v>
                </c:pt>
                <c:pt idx="5">
                  <c:v>23</c:v>
                </c:pt>
                <c:pt idx="6">
                  <c:v>24</c:v>
                </c:pt>
                <c:pt idx="7">
                  <c:v>25</c:v>
                </c:pt>
              </c:strCache>
            </c:strRef>
          </c:cat>
          <c:val>
            <c:numRef>
              <c:f>'Volyymit pääennuste'!$B$40:$B$47</c:f>
              <c:numCache>
                <c:formatCode>General</c:formatCode>
                <c:ptCount val="8"/>
                <c:pt idx="0">
                  <c:v>100</c:v>
                </c:pt>
                <c:pt idx="1">
                  <c:v>99.5</c:v>
                </c:pt>
                <c:pt idx="2">
                  <c:v>109.4</c:v>
                </c:pt>
                <c:pt idx="3">
                  <c:v>103.4</c:v>
                </c:pt>
                <c:pt idx="4">
                  <c:v>102</c:v>
                </c:pt>
                <c:pt idx="5">
                  <c:v>97</c:v>
                </c:pt>
                <c:pt idx="6">
                  <c:v>95</c:v>
                </c:pt>
                <c:pt idx="7">
                  <c:v>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E4C-4805-B0E1-9C27E3EC99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2007664"/>
        <c:axId val="492016520"/>
      </c:lineChart>
      <c:catAx>
        <c:axId val="49200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92016520"/>
        <c:crosses val="autoZero"/>
        <c:auto val="1"/>
        <c:lblAlgn val="ctr"/>
        <c:lblOffset val="100"/>
        <c:noMultiLvlLbl val="0"/>
      </c:catAx>
      <c:valAx>
        <c:axId val="492016520"/>
        <c:scaling>
          <c:orientation val="minMax"/>
          <c:max val="110"/>
          <c:min val="9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92007664"/>
        <c:crosses val="autoZero"/>
        <c:crossBetween val="between"/>
        <c:majorUnit val="2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rgbClr val="002060"/>
          </a:solidFill>
        </a:defRPr>
      </a:pPr>
      <a:endParaRPr lang="fi-FI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lang="fi-FI" sz="14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fi-FI" sz="14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Rakentaminen vetää taloutta taantumaan</a:t>
            </a:r>
          </a:p>
          <a:p>
            <a:pPr algn="l">
              <a:defRPr lang="fi-FI" b="1">
                <a:solidFill>
                  <a:prstClr val="black">
                    <a:lumMod val="65000"/>
                    <a:lumOff val="35000"/>
                  </a:prstClr>
                </a:solidFill>
              </a:defRPr>
            </a:pPr>
            <a:r>
              <a:rPr lang="fi-FI" sz="12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Rakentamisen keskeisten indikaattoreiden vuosimuutos (%)</a:t>
            </a:r>
          </a:p>
        </c:rich>
      </c:tx>
      <c:layout>
        <c:manualLayout>
          <c:xMode val="edge"/>
          <c:yMode val="edge"/>
          <c:x val="0"/>
          <c:y val="2.119766825649178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lang="fi-FI" sz="1400" b="1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2.5010245774058075E-2"/>
          <c:y val="0.13686002620938387"/>
          <c:w val="0.9583733735115656"/>
          <c:h val="0.75047568911638529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Taul1!$J$124</c:f>
              <c:strCache>
                <c:ptCount val="1"/>
                <c:pt idx="0">
                  <c:v>Rakentamisen arvonlisäy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Taul1!$G$137:$G$424</c:f>
              <c:numCache>
                <c:formatCode>m/d/yyyy</c:formatCode>
                <c:ptCount val="288"/>
                <c:pt idx="0">
                  <c:v>36892</c:v>
                </c:pt>
                <c:pt idx="1">
                  <c:v>36923</c:v>
                </c:pt>
                <c:pt idx="2">
                  <c:v>36951</c:v>
                </c:pt>
                <c:pt idx="3">
                  <c:v>36982</c:v>
                </c:pt>
                <c:pt idx="4">
                  <c:v>37012</c:v>
                </c:pt>
                <c:pt idx="5">
                  <c:v>37043</c:v>
                </c:pt>
                <c:pt idx="6">
                  <c:v>37073</c:v>
                </c:pt>
                <c:pt idx="7">
                  <c:v>37104</c:v>
                </c:pt>
                <c:pt idx="8">
                  <c:v>37135</c:v>
                </c:pt>
                <c:pt idx="9">
                  <c:v>37165</c:v>
                </c:pt>
                <c:pt idx="10">
                  <c:v>37196</c:v>
                </c:pt>
                <c:pt idx="11">
                  <c:v>37226</c:v>
                </c:pt>
                <c:pt idx="12">
                  <c:v>37257</c:v>
                </c:pt>
                <c:pt idx="13">
                  <c:v>37288</c:v>
                </c:pt>
                <c:pt idx="14">
                  <c:v>37316</c:v>
                </c:pt>
                <c:pt idx="15">
                  <c:v>37347</c:v>
                </c:pt>
                <c:pt idx="16">
                  <c:v>37377</c:v>
                </c:pt>
                <c:pt idx="17">
                  <c:v>37408</c:v>
                </c:pt>
                <c:pt idx="18">
                  <c:v>37438</c:v>
                </c:pt>
                <c:pt idx="19">
                  <c:v>37469</c:v>
                </c:pt>
                <c:pt idx="20">
                  <c:v>37500</c:v>
                </c:pt>
                <c:pt idx="21">
                  <c:v>37530</c:v>
                </c:pt>
                <c:pt idx="22">
                  <c:v>37561</c:v>
                </c:pt>
                <c:pt idx="23">
                  <c:v>37591</c:v>
                </c:pt>
                <c:pt idx="24">
                  <c:v>37622</c:v>
                </c:pt>
                <c:pt idx="25">
                  <c:v>37653</c:v>
                </c:pt>
                <c:pt idx="26">
                  <c:v>37681</c:v>
                </c:pt>
                <c:pt idx="27">
                  <c:v>37712</c:v>
                </c:pt>
                <c:pt idx="28">
                  <c:v>37742</c:v>
                </c:pt>
                <c:pt idx="29">
                  <c:v>37773</c:v>
                </c:pt>
                <c:pt idx="30">
                  <c:v>37803</c:v>
                </c:pt>
                <c:pt idx="31">
                  <c:v>37834</c:v>
                </c:pt>
                <c:pt idx="32">
                  <c:v>37865</c:v>
                </c:pt>
                <c:pt idx="33">
                  <c:v>37895</c:v>
                </c:pt>
                <c:pt idx="34">
                  <c:v>37926</c:v>
                </c:pt>
                <c:pt idx="35">
                  <c:v>37956</c:v>
                </c:pt>
                <c:pt idx="36">
                  <c:v>37987</c:v>
                </c:pt>
                <c:pt idx="37">
                  <c:v>38018</c:v>
                </c:pt>
                <c:pt idx="38">
                  <c:v>38047</c:v>
                </c:pt>
                <c:pt idx="39">
                  <c:v>38078</c:v>
                </c:pt>
                <c:pt idx="40">
                  <c:v>38108</c:v>
                </c:pt>
                <c:pt idx="41">
                  <c:v>38139</c:v>
                </c:pt>
                <c:pt idx="42">
                  <c:v>38169</c:v>
                </c:pt>
                <c:pt idx="43">
                  <c:v>38200</c:v>
                </c:pt>
                <c:pt idx="44">
                  <c:v>38231</c:v>
                </c:pt>
                <c:pt idx="45">
                  <c:v>38261</c:v>
                </c:pt>
                <c:pt idx="46">
                  <c:v>38292</c:v>
                </c:pt>
                <c:pt idx="47">
                  <c:v>38322</c:v>
                </c:pt>
                <c:pt idx="48">
                  <c:v>38353</c:v>
                </c:pt>
                <c:pt idx="49">
                  <c:v>38384</c:v>
                </c:pt>
                <c:pt idx="50">
                  <c:v>38412</c:v>
                </c:pt>
                <c:pt idx="51">
                  <c:v>38443</c:v>
                </c:pt>
                <c:pt idx="52">
                  <c:v>38473</c:v>
                </c:pt>
                <c:pt idx="53">
                  <c:v>38504</c:v>
                </c:pt>
                <c:pt idx="54">
                  <c:v>38534</c:v>
                </c:pt>
                <c:pt idx="55">
                  <c:v>38565</c:v>
                </c:pt>
                <c:pt idx="56">
                  <c:v>38596</c:v>
                </c:pt>
                <c:pt idx="57">
                  <c:v>38626</c:v>
                </c:pt>
                <c:pt idx="58">
                  <c:v>38657</c:v>
                </c:pt>
                <c:pt idx="59">
                  <c:v>38687</c:v>
                </c:pt>
                <c:pt idx="60">
                  <c:v>38718</c:v>
                </c:pt>
                <c:pt idx="61">
                  <c:v>38749</c:v>
                </c:pt>
                <c:pt idx="62">
                  <c:v>38777</c:v>
                </c:pt>
                <c:pt idx="63">
                  <c:v>38808</c:v>
                </c:pt>
                <c:pt idx="64">
                  <c:v>38838</c:v>
                </c:pt>
                <c:pt idx="65">
                  <c:v>38869</c:v>
                </c:pt>
                <c:pt idx="66">
                  <c:v>38899</c:v>
                </c:pt>
                <c:pt idx="67">
                  <c:v>38930</c:v>
                </c:pt>
                <c:pt idx="68">
                  <c:v>38961</c:v>
                </c:pt>
                <c:pt idx="69">
                  <c:v>38991</c:v>
                </c:pt>
                <c:pt idx="70">
                  <c:v>39022</c:v>
                </c:pt>
                <c:pt idx="71">
                  <c:v>39052</c:v>
                </c:pt>
                <c:pt idx="72">
                  <c:v>39083</c:v>
                </c:pt>
                <c:pt idx="73">
                  <c:v>39114</c:v>
                </c:pt>
                <c:pt idx="74">
                  <c:v>39142</c:v>
                </c:pt>
                <c:pt idx="75">
                  <c:v>39173</c:v>
                </c:pt>
                <c:pt idx="76">
                  <c:v>39203</c:v>
                </c:pt>
                <c:pt idx="77">
                  <c:v>39234</c:v>
                </c:pt>
                <c:pt idx="78">
                  <c:v>39264</c:v>
                </c:pt>
                <c:pt idx="79">
                  <c:v>39295</c:v>
                </c:pt>
                <c:pt idx="80">
                  <c:v>39326</c:v>
                </c:pt>
                <c:pt idx="81">
                  <c:v>39356</c:v>
                </c:pt>
                <c:pt idx="82">
                  <c:v>39387</c:v>
                </c:pt>
                <c:pt idx="83">
                  <c:v>39417</c:v>
                </c:pt>
                <c:pt idx="84">
                  <c:v>39448</c:v>
                </c:pt>
                <c:pt idx="85">
                  <c:v>39479</c:v>
                </c:pt>
                <c:pt idx="86">
                  <c:v>39508</c:v>
                </c:pt>
                <c:pt idx="87">
                  <c:v>39539</c:v>
                </c:pt>
                <c:pt idx="88">
                  <c:v>39569</c:v>
                </c:pt>
                <c:pt idx="89">
                  <c:v>39600</c:v>
                </c:pt>
                <c:pt idx="90">
                  <c:v>39630</c:v>
                </c:pt>
                <c:pt idx="91">
                  <c:v>39661</c:v>
                </c:pt>
                <c:pt idx="92">
                  <c:v>39692</c:v>
                </c:pt>
                <c:pt idx="93">
                  <c:v>39722</c:v>
                </c:pt>
                <c:pt idx="94">
                  <c:v>39753</c:v>
                </c:pt>
                <c:pt idx="95">
                  <c:v>39783</c:v>
                </c:pt>
                <c:pt idx="96">
                  <c:v>39814</c:v>
                </c:pt>
                <c:pt idx="97">
                  <c:v>39845</c:v>
                </c:pt>
                <c:pt idx="98">
                  <c:v>39873</c:v>
                </c:pt>
                <c:pt idx="99">
                  <c:v>39904</c:v>
                </c:pt>
                <c:pt idx="100">
                  <c:v>39934</c:v>
                </c:pt>
                <c:pt idx="101">
                  <c:v>39965</c:v>
                </c:pt>
                <c:pt idx="102">
                  <c:v>39995</c:v>
                </c:pt>
                <c:pt idx="103">
                  <c:v>40026</c:v>
                </c:pt>
                <c:pt idx="104">
                  <c:v>40057</c:v>
                </c:pt>
                <c:pt idx="105">
                  <c:v>40087</c:v>
                </c:pt>
                <c:pt idx="106">
                  <c:v>40118</c:v>
                </c:pt>
                <c:pt idx="107">
                  <c:v>40148</c:v>
                </c:pt>
                <c:pt idx="108">
                  <c:v>40179</c:v>
                </c:pt>
                <c:pt idx="109">
                  <c:v>40210</c:v>
                </c:pt>
                <c:pt idx="110">
                  <c:v>40238</c:v>
                </c:pt>
                <c:pt idx="111">
                  <c:v>40269</c:v>
                </c:pt>
                <c:pt idx="112">
                  <c:v>40299</c:v>
                </c:pt>
                <c:pt idx="113">
                  <c:v>40330</c:v>
                </c:pt>
                <c:pt idx="114">
                  <c:v>40360</c:v>
                </c:pt>
                <c:pt idx="115">
                  <c:v>40391</c:v>
                </c:pt>
                <c:pt idx="116">
                  <c:v>40422</c:v>
                </c:pt>
                <c:pt idx="117">
                  <c:v>40452</c:v>
                </c:pt>
                <c:pt idx="118">
                  <c:v>40483</c:v>
                </c:pt>
                <c:pt idx="119">
                  <c:v>40513</c:v>
                </c:pt>
                <c:pt idx="120">
                  <c:v>40544</c:v>
                </c:pt>
                <c:pt idx="121">
                  <c:v>40575</c:v>
                </c:pt>
                <c:pt idx="122">
                  <c:v>40603</c:v>
                </c:pt>
                <c:pt idx="123">
                  <c:v>40634</c:v>
                </c:pt>
                <c:pt idx="124">
                  <c:v>40664</c:v>
                </c:pt>
                <c:pt idx="125">
                  <c:v>40695</c:v>
                </c:pt>
                <c:pt idx="126">
                  <c:v>40725</c:v>
                </c:pt>
                <c:pt idx="127">
                  <c:v>40756</c:v>
                </c:pt>
                <c:pt idx="128">
                  <c:v>40787</c:v>
                </c:pt>
                <c:pt idx="129">
                  <c:v>40817</c:v>
                </c:pt>
                <c:pt idx="130">
                  <c:v>40848</c:v>
                </c:pt>
                <c:pt idx="131">
                  <c:v>40878</c:v>
                </c:pt>
                <c:pt idx="132">
                  <c:v>40909</c:v>
                </c:pt>
                <c:pt idx="133">
                  <c:v>40940</c:v>
                </c:pt>
                <c:pt idx="134">
                  <c:v>40969</c:v>
                </c:pt>
                <c:pt idx="135">
                  <c:v>41000</c:v>
                </c:pt>
                <c:pt idx="136">
                  <c:v>41030</c:v>
                </c:pt>
                <c:pt idx="137">
                  <c:v>41061</c:v>
                </c:pt>
                <c:pt idx="138">
                  <c:v>41091</c:v>
                </c:pt>
                <c:pt idx="139">
                  <c:v>41122</c:v>
                </c:pt>
                <c:pt idx="140">
                  <c:v>41153</c:v>
                </c:pt>
                <c:pt idx="141">
                  <c:v>41183</c:v>
                </c:pt>
                <c:pt idx="142">
                  <c:v>41214</c:v>
                </c:pt>
                <c:pt idx="143">
                  <c:v>41244</c:v>
                </c:pt>
                <c:pt idx="144">
                  <c:v>41275</c:v>
                </c:pt>
                <c:pt idx="145">
                  <c:v>41306</c:v>
                </c:pt>
                <c:pt idx="146">
                  <c:v>41334</c:v>
                </c:pt>
                <c:pt idx="147">
                  <c:v>41365</c:v>
                </c:pt>
                <c:pt idx="148">
                  <c:v>41395</c:v>
                </c:pt>
                <c:pt idx="149">
                  <c:v>41426</c:v>
                </c:pt>
                <c:pt idx="150">
                  <c:v>41456</c:v>
                </c:pt>
                <c:pt idx="151">
                  <c:v>41487</c:v>
                </c:pt>
                <c:pt idx="152">
                  <c:v>41518</c:v>
                </c:pt>
                <c:pt idx="153">
                  <c:v>41548</c:v>
                </c:pt>
                <c:pt idx="154">
                  <c:v>41579</c:v>
                </c:pt>
                <c:pt idx="155">
                  <c:v>41609</c:v>
                </c:pt>
                <c:pt idx="156">
                  <c:v>41640</c:v>
                </c:pt>
                <c:pt idx="157">
                  <c:v>41671</c:v>
                </c:pt>
                <c:pt idx="158">
                  <c:v>41699</c:v>
                </c:pt>
                <c:pt idx="159">
                  <c:v>41730</c:v>
                </c:pt>
                <c:pt idx="160">
                  <c:v>41760</c:v>
                </c:pt>
                <c:pt idx="161">
                  <c:v>41791</c:v>
                </c:pt>
                <c:pt idx="162">
                  <c:v>41821</c:v>
                </c:pt>
                <c:pt idx="163">
                  <c:v>41852</c:v>
                </c:pt>
                <c:pt idx="164">
                  <c:v>41883</c:v>
                </c:pt>
                <c:pt idx="165">
                  <c:v>41913</c:v>
                </c:pt>
                <c:pt idx="166">
                  <c:v>41944</c:v>
                </c:pt>
                <c:pt idx="167">
                  <c:v>41974</c:v>
                </c:pt>
                <c:pt idx="168">
                  <c:v>42005</c:v>
                </c:pt>
                <c:pt idx="169">
                  <c:v>42036</c:v>
                </c:pt>
                <c:pt idx="170">
                  <c:v>42064</c:v>
                </c:pt>
                <c:pt idx="171">
                  <c:v>42095</c:v>
                </c:pt>
                <c:pt idx="172">
                  <c:v>42125</c:v>
                </c:pt>
                <c:pt idx="173">
                  <c:v>42156</c:v>
                </c:pt>
                <c:pt idx="174">
                  <c:v>42186</c:v>
                </c:pt>
                <c:pt idx="175">
                  <c:v>42217</c:v>
                </c:pt>
                <c:pt idx="176">
                  <c:v>42248</c:v>
                </c:pt>
                <c:pt idx="177">
                  <c:v>42278</c:v>
                </c:pt>
                <c:pt idx="178">
                  <c:v>42309</c:v>
                </c:pt>
                <c:pt idx="179">
                  <c:v>42339</c:v>
                </c:pt>
                <c:pt idx="180">
                  <c:v>42370</c:v>
                </c:pt>
                <c:pt idx="181">
                  <c:v>42401</c:v>
                </c:pt>
                <c:pt idx="182">
                  <c:v>42430</c:v>
                </c:pt>
                <c:pt idx="183">
                  <c:v>42461</c:v>
                </c:pt>
                <c:pt idx="184">
                  <c:v>42491</c:v>
                </c:pt>
                <c:pt idx="185">
                  <c:v>42522</c:v>
                </c:pt>
                <c:pt idx="186">
                  <c:v>42552</c:v>
                </c:pt>
                <c:pt idx="187">
                  <c:v>42583</c:v>
                </c:pt>
                <c:pt idx="188">
                  <c:v>42614</c:v>
                </c:pt>
                <c:pt idx="189">
                  <c:v>42644</c:v>
                </c:pt>
                <c:pt idx="190">
                  <c:v>42675</c:v>
                </c:pt>
                <c:pt idx="191">
                  <c:v>42705</c:v>
                </c:pt>
                <c:pt idx="192">
                  <c:v>42736</c:v>
                </c:pt>
                <c:pt idx="193">
                  <c:v>42767</c:v>
                </c:pt>
                <c:pt idx="194">
                  <c:v>42795</c:v>
                </c:pt>
                <c:pt idx="195">
                  <c:v>42826</c:v>
                </c:pt>
                <c:pt idx="196">
                  <c:v>42856</c:v>
                </c:pt>
                <c:pt idx="197">
                  <c:v>42887</c:v>
                </c:pt>
                <c:pt idx="198">
                  <c:v>42917</c:v>
                </c:pt>
                <c:pt idx="199">
                  <c:v>42948</c:v>
                </c:pt>
                <c:pt idx="200">
                  <c:v>42979</c:v>
                </c:pt>
                <c:pt idx="201">
                  <c:v>43009</c:v>
                </c:pt>
                <c:pt idx="202">
                  <c:v>43040</c:v>
                </c:pt>
                <c:pt idx="203">
                  <c:v>43070</c:v>
                </c:pt>
                <c:pt idx="204">
                  <c:v>43101</c:v>
                </c:pt>
                <c:pt idx="205">
                  <c:v>43132</c:v>
                </c:pt>
                <c:pt idx="206">
                  <c:v>43160</c:v>
                </c:pt>
                <c:pt idx="207">
                  <c:v>43191</c:v>
                </c:pt>
                <c:pt idx="208">
                  <c:v>43221</c:v>
                </c:pt>
                <c:pt idx="209">
                  <c:v>43252</c:v>
                </c:pt>
                <c:pt idx="210">
                  <c:v>43282</c:v>
                </c:pt>
                <c:pt idx="211">
                  <c:v>43313</c:v>
                </c:pt>
                <c:pt idx="212">
                  <c:v>43344</c:v>
                </c:pt>
                <c:pt idx="213">
                  <c:v>43374</c:v>
                </c:pt>
                <c:pt idx="214">
                  <c:v>43405</c:v>
                </c:pt>
                <c:pt idx="215">
                  <c:v>43435</c:v>
                </c:pt>
                <c:pt idx="216">
                  <c:v>43466</c:v>
                </c:pt>
                <c:pt idx="217">
                  <c:v>43497</c:v>
                </c:pt>
                <c:pt idx="218">
                  <c:v>43525</c:v>
                </c:pt>
                <c:pt idx="219">
                  <c:v>43556</c:v>
                </c:pt>
                <c:pt idx="220">
                  <c:v>43586</c:v>
                </c:pt>
                <c:pt idx="221">
                  <c:v>43617</c:v>
                </c:pt>
                <c:pt idx="222">
                  <c:v>43647</c:v>
                </c:pt>
                <c:pt idx="223">
                  <c:v>43678</c:v>
                </c:pt>
                <c:pt idx="224">
                  <c:v>43709</c:v>
                </c:pt>
                <c:pt idx="225">
                  <c:v>43739</c:v>
                </c:pt>
                <c:pt idx="226">
                  <c:v>43770</c:v>
                </c:pt>
                <c:pt idx="227">
                  <c:v>43800</c:v>
                </c:pt>
                <c:pt idx="228">
                  <c:v>43831</c:v>
                </c:pt>
                <c:pt idx="229">
                  <c:v>43862</c:v>
                </c:pt>
                <c:pt idx="230">
                  <c:v>43891</c:v>
                </c:pt>
                <c:pt idx="231">
                  <c:v>43922</c:v>
                </c:pt>
                <c:pt idx="232">
                  <c:v>43952</c:v>
                </c:pt>
                <c:pt idx="233">
                  <c:v>43983</c:v>
                </c:pt>
                <c:pt idx="234">
                  <c:v>44013</c:v>
                </c:pt>
                <c:pt idx="235">
                  <c:v>44044</c:v>
                </c:pt>
                <c:pt idx="236">
                  <c:v>44075</c:v>
                </c:pt>
                <c:pt idx="237">
                  <c:v>44105</c:v>
                </c:pt>
                <c:pt idx="238">
                  <c:v>44136</c:v>
                </c:pt>
                <c:pt idx="239">
                  <c:v>44166</c:v>
                </c:pt>
                <c:pt idx="240">
                  <c:v>44197</c:v>
                </c:pt>
                <c:pt idx="241">
                  <c:v>44228</c:v>
                </c:pt>
                <c:pt idx="242">
                  <c:v>44256</c:v>
                </c:pt>
                <c:pt idx="243">
                  <c:v>44287</c:v>
                </c:pt>
                <c:pt idx="244">
                  <c:v>44317</c:v>
                </c:pt>
                <c:pt idx="245">
                  <c:v>44348</c:v>
                </c:pt>
                <c:pt idx="246">
                  <c:v>44378</c:v>
                </c:pt>
                <c:pt idx="247">
                  <c:v>44409</c:v>
                </c:pt>
                <c:pt idx="248">
                  <c:v>44440</c:v>
                </c:pt>
                <c:pt idx="249">
                  <c:v>44470</c:v>
                </c:pt>
                <c:pt idx="250">
                  <c:v>44501</c:v>
                </c:pt>
                <c:pt idx="251">
                  <c:v>44531</c:v>
                </c:pt>
                <c:pt idx="252">
                  <c:v>44562</c:v>
                </c:pt>
                <c:pt idx="253">
                  <c:v>44593</c:v>
                </c:pt>
                <c:pt idx="254">
                  <c:v>44621</c:v>
                </c:pt>
                <c:pt idx="255">
                  <c:v>44652</c:v>
                </c:pt>
                <c:pt idx="256">
                  <c:v>44682</c:v>
                </c:pt>
                <c:pt idx="257">
                  <c:v>44713</c:v>
                </c:pt>
                <c:pt idx="258">
                  <c:v>44743</c:v>
                </c:pt>
                <c:pt idx="259">
                  <c:v>44774</c:v>
                </c:pt>
                <c:pt idx="260">
                  <c:v>44805</c:v>
                </c:pt>
                <c:pt idx="261">
                  <c:v>44835</c:v>
                </c:pt>
                <c:pt idx="262">
                  <c:v>44866</c:v>
                </c:pt>
                <c:pt idx="263">
                  <c:v>44896</c:v>
                </c:pt>
                <c:pt idx="264">
                  <c:v>44927</c:v>
                </c:pt>
                <c:pt idx="265">
                  <c:v>44958</c:v>
                </c:pt>
                <c:pt idx="266">
                  <c:v>44986</c:v>
                </c:pt>
                <c:pt idx="267">
                  <c:v>45017</c:v>
                </c:pt>
                <c:pt idx="268">
                  <c:v>45047</c:v>
                </c:pt>
                <c:pt idx="269">
                  <c:v>45078</c:v>
                </c:pt>
                <c:pt idx="270">
                  <c:v>45108</c:v>
                </c:pt>
                <c:pt idx="271">
                  <c:v>45139</c:v>
                </c:pt>
                <c:pt idx="272">
                  <c:v>45170</c:v>
                </c:pt>
                <c:pt idx="273">
                  <c:v>45200</c:v>
                </c:pt>
                <c:pt idx="274">
                  <c:v>45231</c:v>
                </c:pt>
                <c:pt idx="275">
                  <c:v>45261</c:v>
                </c:pt>
                <c:pt idx="276">
                  <c:v>45292</c:v>
                </c:pt>
                <c:pt idx="277">
                  <c:v>45323</c:v>
                </c:pt>
                <c:pt idx="278">
                  <c:v>45352</c:v>
                </c:pt>
                <c:pt idx="279">
                  <c:v>45383</c:v>
                </c:pt>
                <c:pt idx="280">
                  <c:v>45413</c:v>
                </c:pt>
                <c:pt idx="281">
                  <c:v>45444</c:v>
                </c:pt>
                <c:pt idx="282">
                  <c:v>45474</c:v>
                </c:pt>
                <c:pt idx="283">
                  <c:v>45505</c:v>
                </c:pt>
                <c:pt idx="284">
                  <c:v>45536</c:v>
                </c:pt>
                <c:pt idx="285">
                  <c:v>45566</c:v>
                </c:pt>
                <c:pt idx="286">
                  <c:v>45597</c:v>
                </c:pt>
                <c:pt idx="287">
                  <c:v>45627</c:v>
                </c:pt>
              </c:numCache>
            </c:numRef>
          </c:cat>
          <c:val>
            <c:numRef>
              <c:f>Taul1!$J$137:$J$424</c:f>
              <c:numCache>
                <c:formatCode>General</c:formatCode>
                <c:ptCount val="288"/>
                <c:pt idx="0">
                  <c:v>-7.7007700770077037</c:v>
                </c:pt>
                <c:pt idx="1">
                  <c:v>-7.7007700770077037</c:v>
                </c:pt>
                <c:pt idx="2">
                  <c:v>-7.7007700770077037</c:v>
                </c:pt>
                <c:pt idx="3">
                  <c:v>-7.4296435272045045</c:v>
                </c:pt>
                <c:pt idx="4">
                  <c:v>-7.4296435272045045</c:v>
                </c:pt>
                <c:pt idx="5">
                  <c:v>-7.4296435272045045</c:v>
                </c:pt>
                <c:pt idx="6">
                  <c:v>-7.4943224829674477</c:v>
                </c:pt>
                <c:pt idx="7">
                  <c:v>-7.4943224829674477</c:v>
                </c:pt>
                <c:pt idx="8">
                  <c:v>-7.4943224829674477</c:v>
                </c:pt>
                <c:pt idx="9">
                  <c:v>-10.267017675817982</c:v>
                </c:pt>
                <c:pt idx="10">
                  <c:v>-10.267017675817982</c:v>
                </c:pt>
                <c:pt idx="11">
                  <c:v>-10.267017675817982</c:v>
                </c:pt>
                <c:pt idx="12">
                  <c:v>-1.8275725069527198</c:v>
                </c:pt>
                <c:pt idx="13">
                  <c:v>-1.8275725069527198</c:v>
                </c:pt>
                <c:pt idx="14">
                  <c:v>-1.8275725069527198</c:v>
                </c:pt>
                <c:pt idx="15">
                  <c:v>0.72963113092825438</c:v>
                </c:pt>
                <c:pt idx="16">
                  <c:v>0.72963113092825438</c:v>
                </c:pt>
                <c:pt idx="17">
                  <c:v>0.72963113092825438</c:v>
                </c:pt>
                <c:pt idx="18">
                  <c:v>1.4320785597381445</c:v>
                </c:pt>
                <c:pt idx="19">
                  <c:v>1.4320785597381445</c:v>
                </c:pt>
                <c:pt idx="20">
                  <c:v>1.4320785597381445</c:v>
                </c:pt>
                <c:pt idx="21">
                  <c:v>5.5322715842414141</c:v>
                </c:pt>
                <c:pt idx="22">
                  <c:v>5.5322715842414141</c:v>
                </c:pt>
                <c:pt idx="23">
                  <c:v>5.5322715842414141</c:v>
                </c:pt>
                <c:pt idx="24">
                  <c:v>3.4399028733306523</c:v>
                </c:pt>
                <c:pt idx="25">
                  <c:v>3.4399028733306523</c:v>
                </c:pt>
                <c:pt idx="26">
                  <c:v>3.4399028733306523</c:v>
                </c:pt>
                <c:pt idx="27">
                  <c:v>4.5070422535211208</c:v>
                </c:pt>
                <c:pt idx="28">
                  <c:v>4.5070422535211208</c:v>
                </c:pt>
                <c:pt idx="29">
                  <c:v>4.5070422535211208</c:v>
                </c:pt>
                <c:pt idx="30">
                  <c:v>8.4308188785800553</c:v>
                </c:pt>
                <c:pt idx="31">
                  <c:v>8.4308188785800553</c:v>
                </c:pt>
                <c:pt idx="32">
                  <c:v>8.4308188785800553</c:v>
                </c:pt>
                <c:pt idx="33">
                  <c:v>6.5131056393963291</c:v>
                </c:pt>
                <c:pt idx="34">
                  <c:v>6.5131056393963291</c:v>
                </c:pt>
                <c:pt idx="35">
                  <c:v>6.5131056393963291</c:v>
                </c:pt>
                <c:pt idx="36">
                  <c:v>7.1987480438184832</c:v>
                </c:pt>
                <c:pt idx="37">
                  <c:v>7.1987480438184832</c:v>
                </c:pt>
                <c:pt idx="38">
                  <c:v>7.1987480438184832</c:v>
                </c:pt>
                <c:pt idx="39">
                  <c:v>7.8552175587216055</c:v>
                </c:pt>
                <c:pt idx="40">
                  <c:v>7.8552175587216055</c:v>
                </c:pt>
                <c:pt idx="41">
                  <c:v>7.8552175587216055</c:v>
                </c:pt>
                <c:pt idx="42">
                  <c:v>2.9017857142857224</c:v>
                </c:pt>
                <c:pt idx="43">
                  <c:v>2.9017857142857224</c:v>
                </c:pt>
                <c:pt idx="44">
                  <c:v>2.9017857142857224</c:v>
                </c:pt>
                <c:pt idx="45">
                  <c:v>5.6674123788217798</c:v>
                </c:pt>
                <c:pt idx="46">
                  <c:v>5.6674123788217798</c:v>
                </c:pt>
                <c:pt idx="47">
                  <c:v>5.6674123788217798</c:v>
                </c:pt>
                <c:pt idx="48">
                  <c:v>1.8978102189781083</c:v>
                </c:pt>
                <c:pt idx="49">
                  <c:v>1.8978102189781083</c:v>
                </c:pt>
                <c:pt idx="50">
                  <c:v>1.8978102189781083</c:v>
                </c:pt>
                <c:pt idx="51">
                  <c:v>3.3559443056051492</c:v>
                </c:pt>
                <c:pt idx="52">
                  <c:v>3.3559443056051492</c:v>
                </c:pt>
                <c:pt idx="53">
                  <c:v>3.3559443056051492</c:v>
                </c:pt>
                <c:pt idx="54">
                  <c:v>6.6883586406362809</c:v>
                </c:pt>
                <c:pt idx="55">
                  <c:v>6.6883586406362809</c:v>
                </c:pt>
                <c:pt idx="56">
                  <c:v>6.6883586406362809</c:v>
                </c:pt>
                <c:pt idx="57">
                  <c:v>7.7981651376146885</c:v>
                </c:pt>
                <c:pt idx="58">
                  <c:v>7.7981651376146885</c:v>
                </c:pt>
                <c:pt idx="59">
                  <c:v>7.7981651376146885</c:v>
                </c:pt>
                <c:pt idx="60">
                  <c:v>9.0257879656160327</c:v>
                </c:pt>
                <c:pt idx="61">
                  <c:v>9.0257879656160327</c:v>
                </c:pt>
                <c:pt idx="62">
                  <c:v>9.0257879656160327</c:v>
                </c:pt>
                <c:pt idx="63">
                  <c:v>3.4196891191709824</c:v>
                </c:pt>
                <c:pt idx="64">
                  <c:v>3.4196891191709824</c:v>
                </c:pt>
                <c:pt idx="65">
                  <c:v>3.4196891191709824</c:v>
                </c:pt>
                <c:pt idx="66">
                  <c:v>1.9315486275838651</c:v>
                </c:pt>
                <c:pt idx="67">
                  <c:v>1.9315486275838651</c:v>
                </c:pt>
                <c:pt idx="68">
                  <c:v>1.9315486275838651</c:v>
                </c:pt>
                <c:pt idx="69">
                  <c:v>-1.6039279869067116</c:v>
                </c:pt>
                <c:pt idx="70">
                  <c:v>-1.6039279869067116</c:v>
                </c:pt>
                <c:pt idx="71">
                  <c:v>-1.6039279869067116</c:v>
                </c:pt>
                <c:pt idx="72">
                  <c:v>1.9053876478318159</c:v>
                </c:pt>
                <c:pt idx="73">
                  <c:v>1.9053876478318159</c:v>
                </c:pt>
                <c:pt idx="74">
                  <c:v>1.9053876478318159</c:v>
                </c:pt>
                <c:pt idx="75">
                  <c:v>3.540414161656642</c:v>
                </c:pt>
                <c:pt idx="76">
                  <c:v>3.540414161656642</c:v>
                </c:pt>
                <c:pt idx="77">
                  <c:v>3.540414161656642</c:v>
                </c:pt>
                <c:pt idx="78">
                  <c:v>4.5545212765957501</c:v>
                </c:pt>
                <c:pt idx="79">
                  <c:v>4.5545212765957501</c:v>
                </c:pt>
                <c:pt idx="80">
                  <c:v>4.5545212765957501</c:v>
                </c:pt>
                <c:pt idx="81">
                  <c:v>4.7571523619427865</c:v>
                </c:pt>
                <c:pt idx="82">
                  <c:v>4.7571523619427865</c:v>
                </c:pt>
                <c:pt idx="83">
                  <c:v>4.7571523619427865</c:v>
                </c:pt>
                <c:pt idx="84">
                  <c:v>0.7414571244358541</c:v>
                </c:pt>
                <c:pt idx="85">
                  <c:v>0.7414571244358541</c:v>
                </c:pt>
                <c:pt idx="86">
                  <c:v>0.7414571244358541</c:v>
                </c:pt>
                <c:pt idx="87">
                  <c:v>0.45161290322579362</c:v>
                </c:pt>
                <c:pt idx="88">
                  <c:v>0.45161290322579362</c:v>
                </c:pt>
                <c:pt idx="89">
                  <c:v>0.45161290322579362</c:v>
                </c:pt>
                <c:pt idx="90">
                  <c:v>-3.4340222575516748</c:v>
                </c:pt>
                <c:pt idx="91">
                  <c:v>-3.4340222575516748</c:v>
                </c:pt>
                <c:pt idx="92">
                  <c:v>-3.4340222575516748</c:v>
                </c:pt>
                <c:pt idx="93">
                  <c:v>-7.2086376627500783</c:v>
                </c:pt>
                <c:pt idx="94">
                  <c:v>-7.2086376627500783</c:v>
                </c:pt>
                <c:pt idx="95">
                  <c:v>-7.2086376627500783</c:v>
                </c:pt>
                <c:pt idx="96">
                  <c:v>-5.5039999999999907</c:v>
                </c:pt>
                <c:pt idx="97">
                  <c:v>-5.5039999999999907</c:v>
                </c:pt>
                <c:pt idx="98">
                  <c:v>-5.5039999999999907</c:v>
                </c:pt>
                <c:pt idx="99">
                  <c:v>-9.5375722543352595</c:v>
                </c:pt>
                <c:pt idx="100">
                  <c:v>-9.5375722543352595</c:v>
                </c:pt>
                <c:pt idx="101">
                  <c:v>-9.5375722543352595</c:v>
                </c:pt>
                <c:pt idx="102">
                  <c:v>-9.3842607836680969</c:v>
                </c:pt>
                <c:pt idx="103">
                  <c:v>-9.3842607836680969</c:v>
                </c:pt>
                <c:pt idx="104">
                  <c:v>-9.3842607836680969</c:v>
                </c:pt>
                <c:pt idx="105">
                  <c:v>-6.8104038329911134</c:v>
                </c:pt>
                <c:pt idx="106">
                  <c:v>-6.8104038329911134</c:v>
                </c:pt>
                <c:pt idx="107">
                  <c:v>-6.8104038329911134</c:v>
                </c:pt>
                <c:pt idx="108">
                  <c:v>1.8625126989502121</c:v>
                </c:pt>
                <c:pt idx="109">
                  <c:v>1.8625126989502121</c:v>
                </c:pt>
                <c:pt idx="110">
                  <c:v>1.8625126989502121</c:v>
                </c:pt>
                <c:pt idx="111">
                  <c:v>11.572594959176413</c:v>
                </c:pt>
                <c:pt idx="112">
                  <c:v>11.572594959176413</c:v>
                </c:pt>
                <c:pt idx="113">
                  <c:v>11.572594959176413</c:v>
                </c:pt>
                <c:pt idx="114">
                  <c:v>15.806686046511629</c:v>
                </c:pt>
                <c:pt idx="115">
                  <c:v>15.806686046511629</c:v>
                </c:pt>
                <c:pt idx="116">
                  <c:v>15.806686046511629</c:v>
                </c:pt>
                <c:pt idx="117">
                  <c:v>17.921410209327959</c:v>
                </c:pt>
                <c:pt idx="118">
                  <c:v>17.921410209327959</c:v>
                </c:pt>
                <c:pt idx="119">
                  <c:v>17.921410209327959</c:v>
                </c:pt>
                <c:pt idx="120">
                  <c:v>7.1143617021276668</c:v>
                </c:pt>
                <c:pt idx="121">
                  <c:v>7.1143617021276668</c:v>
                </c:pt>
                <c:pt idx="122">
                  <c:v>7.1143617021276668</c:v>
                </c:pt>
                <c:pt idx="123">
                  <c:v>0.82723512567611124</c:v>
                </c:pt>
                <c:pt idx="124">
                  <c:v>0.82723512567611124</c:v>
                </c:pt>
                <c:pt idx="125">
                  <c:v>0.82723512567611124</c:v>
                </c:pt>
                <c:pt idx="126">
                  <c:v>9.4132412927521614E-2</c:v>
                </c:pt>
                <c:pt idx="127">
                  <c:v>9.4132412927521614E-2</c:v>
                </c:pt>
                <c:pt idx="128">
                  <c:v>9.4132412927521614E-2</c:v>
                </c:pt>
                <c:pt idx="129">
                  <c:v>-9.342883836811211E-2</c:v>
                </c:pt>
                <c:pt idx="130">
                  <c:v>-9.342883836811211E-2</c:v>
                </c:pt>
                <c:pt idx="131">
                  <c:v>-9.342883836811211E-2</c:v>
                </c:pt>
                <c:pt idx="132">
                  <c:v>-4.158907510862818</c:v>
                </c:pt>
                <c:pt idx="133">
                  <c:v>-4.158907510862818</c:v>
                </c:pt>
                <c:pt idx="134">
                  <c:v>-4.158907510862818</c:v>
                </c:pt>
                <c:pt idx="135">
                  <c:v>-3.5342379299463573</c:v>
                </c:pt>
                <c:pt idx="136">
                  <c:v>-3.5342379299463573</c:v>
                </c:pt>
                <c:pt idx="137">
                  <c:v>-3.5342379299463573</c:v>
                </c:pt>
                <c:pt idx="138">
                  <c:v>-4.85893416927901</c:v>
                </c:pt>
                <c:pt idx="139">
                  <c:v>-4.85893416927901</c:v>
                </c:pt>
                <c:pt idx="140">
                  <c:v>-4.85893416927901</c:v>
                </c:pt>
                <c:pt idx="141">
                  <c:v>-6.2655860349127153</c:v>
                </c:pt>
                <c:pt idx="142">
                  <c:v>-6.2655860349127153</c:v>
                </c:pt>
                <c:pt idx="143">
                  <c:v>-6.2655860349127153</c:v>
                </c:pt>
                <c:pt idx="144">
                  <c:v>-2.9145077720207269</c:v>
                </c:pt>
                <c:pt idx="145">
                  <c:v>-2.9145077720207269</c:v>
                </c:pt>
                <c:pt idx="146">
                  <c:v>-2.9145077720207269</c:v>
                </c:pt>
                <c:pt idx="147">
                  <c:v>-2.1916912005233939</c:v>
                </c:pt>
                <c:pt idx="148">
                  <c:v>-2.1916912005233939</c:v>
                </c:pt>
                <c:pt idx="149">
                  <c:v>-2.1916912005233939</c:v>
                </c:pt>
                <c:pt idx="150">
                  <c:v>-1.2850082372322902</c:v>
                </c:pt>
                <c:pt idx="151">
                  <c:v>-1.2850082372322902</c:v>
                </c:pt>
                <c:pt idx="152">
                  <c:v>-1.2850082372322902</c:v>
                </c:pt>
                <c:pt idx="153">
                  <c:v>-1.4299966744263344</c:v>
                </c:pt>
                <c:pt idx="154">
                  <c:v>-1.4299966744263344</c:v>
                </c:pt>
                <c:pt idx="155">
                  <c:v>-1.4299966744263344</c:v>
                </c:pt>
                <c:pt idx="156">
                  <c:v>-2.2014676450967272</c:v>
                </c:pt>
                <c:pt idx="157">
                  <c:v>-2.2014676450967272</c:v>
                </c:pt>
                <c:pt idx="158">
                  <c:v>-2.2014676450967272</c:v>
                </c:pt>
                <c:pt idx="159">
                  <c:v>-2.6421404682274101</c:v>
                </c:pt>
                <c:pt idx="160">
                  <c:v>-2.6421404682274101</c:v>
                </c:pt>
                <c:pt idx="161">
                  <c:v>-2.6421404682274101</c:v>
                </c:pt>
                <c:pt idx="162">
                  <c:v>-4.2723631508678181</c:v>
                </c:pt>
                <c:pt idx="163">
                  <c:v>-4.2723631508678181</c:v>
                </c:pt>
                <c:pt idx="164">
                  <c:v>-4.2723631508678181</c:v>
                </c:pt>
                <c:pt idx="165">
                  <c:v>-3.9473684210526301</c:v>
                </c:pt>
                <c:pt idx="166">
                  <c:v>-3.9473684210526301</c:v>
                </c:pt>
                <c:pt idx="167">
                  <c:v>-3.9473684210526301</c:v>
                </c:pt>
                <c:pt idx="168">
                  <c:v>-0.88676671214189184</c:v>
                </c:pt>
                <c:pt idx="169">
                  <c:v>-0.88676671214189184</c:v>
                </c:pt>
                <c:pt idx="170">
                  <c:v>-0.88676671214189184</c:v>
                </c:pt>
                <c:pt idx="171">
                  <c:v>1.7519752662315398</c:v>
                </c:pt>
                <c:pt idx="172">
                  <c:v>1.7519752662315398</c:v>
                </c:pt>
                <c:pt idx="173">
                  <c:v>1.7519752662315398</c:v>
                </c:pt>
                <c:pt idx="174">
                  <c:v>4.253835425383528</c:v>
                </c:pt>
                <c:pt idx="175">
                  <c:v>4.253835425383528</c:v>
                </c:pt>
                <c:pt idx="176">
                  <c:v>4.253835425383528</c:v>
                </c:pt>
                <c:pt idx="177">
                  <c:v>6.8141903758342153</c:v>
                </c:pt>
                <c:pt idx="178">
                  <c:v>6.8141903758342153</c:v>
                </c:pt>
                <c:pt idx="179">
                  <c:v>6.8141903758342153</c:v>
                </c:pt>
                <c:pt idx="180">
                  <c:v>5.2649690295939422</c:v>
                </c:pt>
                <c:pt idx="181">
                  <c:v>5.2649690295939422</c:v>
                </c:pt>
                <c:pt idx="182">
                  <c:v>5.2649690295939422</c:v>
                </c:pt>
                <c:pt idx="183">
                  <c:v>4.0850776502363146</c:v>
                </c:pt>
                <c:pt idx="184">
                  <c:v>4.0850776502363146</c:v>
                </c:pt>
                <c:pt idx="185">
                  <c:v>4.0850776502363146</c:v>
                </c:pt>
                <c:pt idx="186">
                  <c:v>5.0836120401337865</c:v>
                </c:pt>
                <c:pt idx="187">
                  <c:v>5.0836120401337865</c:v>
                </c:pt>
                <c:pt idx="188">
                  <c:v>5.0836120401337865</c:v>
                </c:pt>
                <c:pt idx="189">
                  <c:v>4.7681683656691973</c:v>
                </c:pt>
                <c:pt idx="190">
                  <c:v>4.7681683656691973</c:v>
                </c:pt>
                <c:pt idx="191">
                  <c:v>4.7681683656691973</c:v>
                </c:pt>
                <c:pt idx="192">
                  <c:v>3.6286368094148287</c:v>
                </c:pt>
                <c:pt idx="193">
                  <c:v>3.6286368094148287</c:v>
                </c:pt>
                <c:pt idx="194">
                  <c:v>3.6286368094148287</c:v>
                </c:pt>
                <c:pt idx="195">
                  <c:v>4.0220564385339088</c:v>
                </c:pt>
                <c:pt idx="196">
                  <c:v>4.0220564385339088</c:v>
                </c:pt>
                <c:pt idx="197">
                  <c:v>4.0220564385339088</c:v>
                </c:pt>
                <c:pt idx="198">
                  <c:v>2.0369191597708465</c:v>
                </c:pt>
                <c:pt idx="199">
                  <c:v>2.0369191597708465</c:v>
                </c:pt>
                <c:pt idx="200">
                  <c:v>2.0369191597708465</c:v>
                </c:pt>
                <c:pt idx="201">
                  <c:v>-0.56497175141242906</c:v>
                </c:pt>
                <c:pt idx="202">
                  <c:v>-0.56497175141242906</c:v>
                </c:pt>
                <c:pt idx="203">
                  <c:v>-0.56497175141242906</c:v>
                </c:pt>
                <c:pt idx="204">
                  <c:v>2.5236593059937036</c:v>
                </c:pt>
                <c:pt idx="205">
                  <c:v>2.5236593059937036</c:v>
                </c:pt>
                <c:pt idx="206">
                  <c:v>2.5236593059937036</c:v>
                </c:pt>
                <c:pt idx="207">
                  <c:v>1.4967259120673475</c:v>
                </c:pt>
                <c:pt idx="208">
                  <c:v>1.4967259120673475</c:v>
                </c:pt>
                <c:pt idx="209">
                  <c:v>1.4967259120673475</c:v>
                </c:pt>
                <c:pt idx="210">
                  <c:v>1.0293200249532219</c:v>
                </c:pt>
                <c:pt idx="211">
                  <c:v>1.0293200249532219</c:v>
                </c:pt>
                <c:pt idx="212">
                  <c:v>1.0293200249532219</c:v>
                </c:pt>
                <c:pt idx="213">
                  <c:v>1.7045454545454533</c:v>
                </c:pt>
                <c:pt idx="214">
                  <c:v>1.7045454545454533</c:v>
                </c:pt>
                <c:pt idx="215">
                  <c:v>1.7045454545454533</c:v>
                </c:pt>
                <c:pt idx="216">
                  <c:v>-2.6769230769230603</c:v>
                </c:pt>
                <c:pt idx="217">
                  <c:v>-2.6769230769230603</c:v>
                </c:pt>
                <c:pt idx="218">
                  <c:v>-2.6769230769230603</c:v>
                </c:pt>
                <c:pt idx="219">
                  <c:v>-4.7619047619047592</c:v>
                </c:pt>
                <c:pt idx="220">
                  <c:v>-4.7619047619047592</c:v>
                </c:pt>
                <c:pt idx="221">
                  <c:v>-4.7619047619047592</c:v>
                </c:pt>
                <c:pt idx="222">
                  <c:v>-5.804260574251316</c:v>
                </c:pt>
                <c:pt idx="223">
                  <c:v>-5.804260574251316</c:v>
                </c:pt>
                <c:pt idx="224">
                  <c:v>-5.804260574251316</c:v>
                </c:pt>
                <c:pt idx="225">
                  <c:v>-6.9522036002482821</c:v>
                </c:pt>
                <c:pt idx="226">
                  <c:v>-6.9522036002482821</c:v>
                </c:pt>
                <c:pt idx="227">
                  <c:v>-6.9522036002482821</c:v>
                </c:pt>
                <c:pt idx="228">
                  <c:v>-3.2247865950047441</c:v>
                </c:pt>
                <c:pt idx="229">
                  <c:v>-3.2247865950047441</c:v>
                </c:pt>
                <c:pt idx="230">
                  <c:v>-3.2247865950047441</c:v>
                </c:pt>
                <c:pt idx="231">
                  <c:v>-1.8709677419354875</c:v>
                </c:pt>
                <c:pt idx="232">
                  <c:v>-1.8709677419354875</c:v>
                </c:pt>
                <c:pt idx="233">
                  <c:v>-1.8709677419354875</c:v>
                </c:pt>
                <c:pt idx="234">
                  <c:v>-0.45886594559159732</c:v>
                </c:pt>
                <c:pt idx="235">
                  <c:v>-0.45886594559159732</c:v>
                </c:pt>
                <c:pt idx="236">
                  <c:v>-0.45886594559159732</c:v>
                </c:pt>
                <c:pt idx="237">
                  <c:v>3.3689126084055943</c:v>
                </c:pt>
                <c:pt idx="238">
                  <c:v>3.3689126084055943</c:v>
                </c:pt>
                <c:pt idx="239">
                  <c:v>3.3689126084055943</c:v>
                </c:pt>
                <c:pt idx="240">
                  <c:v>-3.1362299901992827</c:v>
                </c:pt>
                <c:pt idx="241">
                  <c:v>-3.1362299901992827</c:v>
                </c:pt>
                <c:pt idx="242">
                  <c:v>-3.1362299901992827</c:v>
                </c:pt>
                <c:pt idx="243">
                  <c:v>-0.46022353714660369</c:v>
                </c:pt>
                <c:pt idx="244">
                  <c:v>-0.46022353714660369</c:v>
                </c:pt>
                <c:pt idx="245">
                  <c:v>-0.46022353714660369</c:v>
                </c:pt>
                <c:pt idx="246">
                  <c:v>1.1853803095159634</c:v>
                </c:pt>
                <c:pt idx="247">
                  <c:v>1.1853803095159634</c:v>
                </c:pt>
                <c:pt idx="248">
                  <c:v>1.1853803095159634</c:v>
                </c:pt>
                <c:pt idx="249">
                  <c:v>0.12907389480479026</c:v>
                </c:pt>
                <c:pt idx="250">
                  <c:v>0.12907389480479026</c:v>
                </c:pt>
                <c:pt idx="251">
                  <c:v>0.12907389480479026</c:v>
                </c:pt>
                <c:pt idx="252">
                  <c:v>7.8246205733558014</c:v>
                </c:pt>
                <c:pt idx="253">
                  <c:v>7.8246205733558014</c:v>
                </c:pt>
                <c:pt idx="254">
                  <c:v>7.8246205733558014</c:v>
                </c:pt>
                <c:pt idx="255">
                  <c:v>4.9207397622192701</c:v>
                </c:pt>
                <c:pt idx="256">
                  <c:v>4.9207397622192701</c:v>
                </c:pt>
                <c:pt idx="257">
                  <c:v>4.9207397622192701</c:v>
                </c:pt>
                <c:pt idx="258">
                  <c:v>1.9850309144158587</c:v>
                </c:pt>
                <c:pt idx="259">
                  <c:v>1.9850309144158587</c:v>
                </c:pt>
                <c:pt idx="260">
                  <c:v>1.9850309144158587</c:v>
                </c:pt>
                <c:pt idx="261">
                  <c:v>-0.9990331936835446</c:v>
                </c:pt>
                <c:pt idx="262">
                  <c:v>-0.9990331936835446</c:v>
                </c:pt>
                <c:pt idx="263">
                  <c:v>-0.9990331936835446</c:v>
                </c:pt>
                <c:pt idx="264">
                  <c:v>-6.5686581169846647</c:v>
                </c:pt>
                <c:pt idx="265">
                  <c:v>-6.5686581169846647</c:v>
                </c:pt>
                <c:pt idx="266">
                  <c:v>-6.5686581169846647</c:v>
                </c:pt>
                <c:pt idx="267">
                  <c:v>-8.7503934529430296</c:v>
                </c:pt>
                <c:pt idx="268">
                  <c:v>-8.7503934529430296</c:v>
                </c:pt>
                <c:pt idx="269">
                  <c:v>-8.7503934529430296</c:v>
                </c:pt>
                <c:pt idx="270">
                  <c:v>-9.7638800255264897</c:v>
                </c:pt>
                <c:pt idx="271">
                  <c:v>-9.7638800255264897</c:v>
                </c:pt>
                <c:pt idx="272">
                  <c:v>-9.7638800255264897</c:v>
                </c:pt>
                <c:pt idx="273">
                  <c:v>-9.9609375</c:v>
                </c:pt>
                <c:pt idx="274">
                  <c:v>-9.9609375</c:v>
                </c:pt>
                <c:pt idx="275">
                  <c:v>-9.9609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94-41A2-8B0C-57F046B78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915136016"/>
        <c:axId val="877932240"/>
      </c:barChart>
      <c:lineChart>
        <c:grouping val="standard"/>
        <c:varyColors val="0"/>
        <c:ser>
          <c:idx val="0"/>
          <c:order val="0"/>
          <c:tx>
            <c:strRef>
              <c:f>Taul1!$H$124</c:f>
              <c:strCache>
                <c:ptCount val="1"/>
                <c:pt idx="0">
                  <c:v>Uudistuotanto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ul1!$G$137:$G$424</c:f>
              <c:numCache>
                <c:formatCode>m/d/yyyy</c:formatCode>
                <c:ptCount val="288"/>
                <c:pt idx="0">
                  <c:v>36892</c:v>
                </c:pt>
                <c:pt idx="1">
                  <c:v>36923</c:v>
                </c:pt>
                <c:pt idx="2">
                  <c:v>36951</c:v>
                </c:pt>
                <c:pt idx="3">
                  <c:v>36982</c:v>
                </c:pt>
                <c:pt idx="4">
                  <c:v>37012</c:v>
                </c:pt>
                <c:pt idx="5">
                  <c:v>37043</c:v>
                </c:pt>
                <c:pt idx="6">
                  <c:v>37073</c:v>
                </c:pt>
                <c:pt idx="7">
                  <c:v>37104</c:v>
                </c:pt>
                <c:pt idx="8">
                  <c:v>37135</c:v>
                </c:pt>
                <c:pt idx="9">
                  <c:v>37165</c:v>
                </c:pt>
                <c:pt idx="10">
                  <c:v>37196</c:v>
                </c:pt>
                <c:pt idx="11">
                  <c:v>37226</c:v>
                </c:pt>
                <c:pt idx="12">
                  <c:v>37257</c:v>
                </c:pt>
                <c:pt idx="13">
                  <c:v>37288</c:v>
                </c:pt>
                <c:pt idx="14">
                  <c:v>37316</c:v>
                </c:pt>
                <c:pt idx="15">
                  <c:v>37347</c:v>
                </c:pt>
                <c:pt idx="16">
                  <c:v>37377</c:v>
                </c:pt>
                <c:pt idx="17">
                  <c:v>37408</c:v>
                </c:pt>
                <c:pt idx="18">
                  <c:v>37438</c:v>
                </c:pt>
                <c:pt idx="19">
                  <c:v>37469</c:v>
                </c:pt>
                <c:pt idx="20">
                  <c:v>37500</c:v>
                </c:pt>
                <c:pt idx="21">
                  <c:v>37530</c:v>
                </c:pt>
                <c:pt idx="22">
                  <c:v>37561</c:v>
                </c:pt>
                <c:pt idx="23">
                  <c:v>37591</c:v>
                </c:pt>
                <c:pt idx="24">
                  <c:v>37622</c:v>
                </c:pt>
                <c:pt idx="25">
                  <c:v>37653</c:v>
                </c:pt>
                <c:pt idx="26">
                  <c:v>37681</c:v>
                </c:pt>
                <c:pt idx="27">
                  <c:v>37712</c:v>
                </c:pt>
                <c:pt idx="28">
                  <c:v>37742</c:v>
                </c:pt>
                <c:pt idx="29">
                  <c:v>37773</c:v>
                </c:pt>
                <c:pt idx="30">
                  <c:v>37803</c:v>
                </c:pt>
                <c:pt idx="31">
                  <c:v>37834</c:v>
                </c:pt>
                <c:pt idx="32">
                  <c:v>37865</c:v>
                </c:pt>
                <c:pt idx="33">
                  <c:v>37895</c:v>
                </c:pt>
                <c:pt idx="34">
                  <c:v>37926</c:v>
                </c:pt>
                <c:pt idx="35">
                  <c:v>37956</c:v>
                </c:pt>
                <c:pt idx="36">
                  <c:v>37987</c:v>
                </c:pt>
                <c:pt idx="37">
                  <c:v>38018</c:v>
                </c:pt>
                <c:pt idx="38">
                  <c:v>38047</c:v>
                </c:pt>
                <c:pt idx="39">
                  <c:v>38078</c:v>
                </c:pt>
                <c:pt idx="40">
                  <c:v>38108</c:v>
                </c:pt>
                <c:pt idx="41">
                  <c:v>38139</c:v>
                </c:pt>
                <c:pt idx="42">
                  <c:v>38169</c:v>
                </c:pt>
                <c:pt idx="43">
                  <c:v>38200</c:v>
                </c:pt>
                <c:pt idx="44">
                  <c:v>38231</c:v>
                </c:pt>
                <c:pt idx="45">
                  <c:v>38261</c:v>
                </c:pt>
                <c:pt idx="46">
                  <c:v>38292</c:v>
                </c:pt>
                <c:pt idx="47">
                  <c:v>38322</c:v>
                </c:pt>
                <c:pt idx="48">
                  <c:v>38353</c:v>
                </c:pt>
                <c:pt idx="49">
                  <c:v>38384</c:v>
                </c:pt>
                <c:pt idx="50">
                  <c:v>38412</c:v>
                </c:pt>
                <c:pt idx="51">
                  <c:v>38443</c:v>
                </c:pt>
                <c:pt idx="52">
                  <c:v>38473</c:v>
                </c:pt>
                <c:pt idx="53">
                  <c:v>38504</c:v>
                </c:pt>
                <c:pt idx="54">
                  <c:v>38534</c:v>
                </c:pt>
                <c:pt idx="55">
                  <c:v>38565</c:v>
                </c:pt>
                <c:pt idx="56">
                  <c:v>38596</c:v>
                </c:pt>
                <c:pt idx="57">
                  <c:v>38626</c:v>
                </c:pt>
                <c:pt idx="58">
                  <c:v>38657</c:v>
                </c:pt>
                <c:pt idx="59">
                  <c:v>38687</c:v>
                </c:pt>
                <c:pt idx="60">
                  <c:v>38718</c:v>
                </c:pt>
                <c:pt idx="61">
                  <c:v>38749</c:v>
                </c:pt>
                <c:pt idx="62">
                  <c:v>38777</c:v>
                </c:pt>
                <c:pt idx="63">
                  <c:v>38808</c:v>
                </c:pt>
                <c:pt idx="64">
                  <c:v>38838</c:v>
                </c:pt>
                <c:pt idx="65">
                  <c:v>38869</c:v>
                </c:pt>
                <c:pt idx="66">
                  <c:v>38899</c:v>
                </c:pt>
                <c:pt idx="67">
                  <c:v>38930</c:v>
                </c:pt>
                <c:pt idx="68">
                  <c:v>38961</c:v>
                </c:pt>
                <c:pt idx="69">
                  <c:v>38991</c:v>
                </c:pt>
                <c:pt idx="70">
                  <c:v>39022</c:v>
                </c:pt>
                <c:pt idx="71">
                  <c:v>39052</c:v>
                </c:pt>
                <c:pt idx="72">
                  <c:v>39083</c:v>
                </c:pt>
                <c:pt idx="73">
                  <c:v>39114</c:v>
                </c:pt>
                <c:pt idx="74">
                  <c:v>39142</c:v>
                </c:pt>
                <c:pt idx="75">
                  <c:v>39173</c:v>
                </c:pt>
                <c:pt idx="76">
                  <c:v>39203</c:v>
                </c:pt>
                <c:pt idx="77">
                  <c:v>39234</c:v>
                </c:pt>
                <c:pt idx="78">
                  <c:v>39264</c:v>
                </c:pt>
                <c:pt idx="79">
                  <c:v>39295</c:v>
                </c:pt>
                <c:pt idx="80">
                  <c:v>39326</c:v>
                </c:pt>
                <c:pt idx="81">
                  <c:v>39356</c:v>
                </c:pt>
                <c:pt idx="82">
                  <c:v>39387</c:v>
                </c:pt>
                <c:pt idx="83">
                  <c:v>39417</c:v>
                </c:pt>
                <c:pt idx="84">
                  <c:v>39448</c:v>
                </c:pt>
                <c:pt idx="85">
                  <c:v>39479</c:v>
                </c:pt>
                <c:pt idx="86">
                  <c:v>39508</c:v>
                </c:pt>
                <c:pt idx="87">
                  <c:v>39539</c:v>
                </c:pt>
                <c:pt idx="88">
                  <c:v>39569</c:v>
                </c:pt>
                <c:pt idx="89">
                  <c:v>39600</c:v>
                </c:pt>
                <c:pt idx="90">
                  <c:v>39630</c:v>
                </c:pt>
                <c:pt idx="91">
                  <c:v>39661</c:v>
                </c:pt>
                <c:pt idx="92">
                  <c:v>39692</c:v>
                </c:pt>
                <c:pt idx="93">
                  <c:v>39722</c:v>
                </c:pt>
                <c:pt idx="94">
                  <c:v>39753</c:v>
                </c:pt>
                <c:pt idx="95">
                  <c:v>39783</c:v>
                </c:pt>
                <c:pt idx="96">
                  <c:v>39814</c:v>
                </c:pt>
                <c:pt idx="97">
                  <c:v>39845</c:v>
                </c:pt>
                <c:pt idx="98">
                  <c:v>39873</c:v>
                </c:pt>
                <c:pt idx="99">
                  <c:v>39904</c:v>
                </c:pt>
                <c:pt idx="100">
                  <c:v>39934</c:v>
                </c:pt>
                <c:pt idx="101">
                  <c:v>39965</c:v>
                </c:pt>
                <c:pt idx="102">
                  <c:v>39995</c:v>
                </c:pt>
                <c:pt idx="103">
                  <c:v>40026</c:v>
                </c:pt>
                <c:pt idx="104">
                  <c:v>40057</c:v>
                </c:pt>
                <c:pt idx="105">
                  <c:v>40087</c:v>
                </c:pt>
                <c:pt idx="106">
                  <c:v>40118</c:v>
                </c:pt>
                <c:pt idx="107">
                  <c:v>40148</c:v>
                </c:pt>
                <c:pt idx="108">
                  <c:v>40179</c:v>
                </c:pt>
                <c:pt idx="109">
                  <c:v>40210</c:v>
                </c:pt>
                <c:pt idx="110">
                  <c:v>40238</c:v>
                </c:pt>
                <c:pt idx="111">
                  <c:v>40269</c:v>
                </c:pt>
                <c:pt idx="112">
                  <c:v>40299</c:v>
                </c:pt>
                <c:pt idx="113">
                  <c:v>40330</c:v>
                </c:pt>
                <c:pt idx="114">
                  <c:v>40360</c:v>
                </c:pt>
                <c:pt idx="115">
                  <c:v>40391</c:v>
                </c:pt>
                <c:pt idx="116">
                  <c:v>40422</c:v>
                </c:pt>
                <c:pt idx="117">
                  <c:v>40452</c:v>
                </c:pt>
                <c:pt idx="118">
                  <c:v>40483</c:v>
                </c:pt>
                <c:pt idx="119">
                  <c:v>40513</c:v>
                </c:pt>
                <c:pt idx="120">
                  <c:v>40544</c:v>
                </c:pt>
                <c:pt idx="121">
                  <c:v>40575</c:v>
                </c:pt>
                <c:pt idx="122">
                  <c:v>40603</c:v>
                </c:pt>
                <c:pt idx="123">
                  <c:v>40634</c:v>
                </c:pt>
                <c:pt idx="124">
                  <c:v>40664</c:v>
                </c:pt>
                <c:pt idx="125">
                  <c:v>40695</c:v>
                </c:pt>
                <c:pt idx="126">
                  <c:v>40725</c:v>
                </c:pt>
                <c:pt idx="127">
                  <c:v>40756</c:v>
                </c:pt>
                <c:pt idx="128">
                  <c:v>40787</c:v>
                </c:pt>
                <c:pt idx="129">
                  <c:v>40817</c:v>
                </c:pt>
                <c:pt idx="130">
                  <c:v>40848</c:v>
                </c:pt>
                <c:pt idx="131">
                  <c:v>40878</c:v>
                </c:pt>
                <c:pt idx="132">
                  <c:v>40909</c:v>
                </c:pt>
                <c:pt idx="133">
                  <c:v>40940</c:v>
                </c:pt>
                <c:pt idx="134">
                  <c:v>40969</c:v>
                </c:pt>
                <c:pt idx="135">
                  <c:v>41000</c:v>
                </c:pt>
                <c:pt idx="136">
                  <c:v>41030</c:v>
                </c:pt>
                <c:pt idx="137">
                  <c:v>41061</c:v>
                </c:pt>
                <c:pt idx="138">
                  <c:v>41091</c:v>
                </c:pt>
                <c:pt idx="139">
                  <c:v>41122</c:v>
                </c:pt>
                <c:pt idx="140">
                  <c:v>41153</c:v>
                </c:pt>
                <c:pt idx="141">
                  <c:v>41183</c:v>
                </c:pt>
                <c:pt idx="142">
                  <c:v>41214</c:v>
                </c:pt>
                <c:pt idx="143">
                  <c:v>41244</c:v>
                </c:pt>
                <c:pt idx="144">
                  <c:v>41275</c:v>
                </c:pt>
                <c:pt idx="145">
                  <c:v>41306</c:v>
                </c:pt>
                <c:pt idx="146">
                  <c:v>41334</c:v>
                </c:pt>
                <c:pt idx="147">
                  <c:v>41365</c:v>
                </c:pt>
                <c:pt idx="148">
                  <c:v>41395</c:v>
                </c:pt>
                <c:pt idx="149">
                  <c:v>41426</c:v>
                </c:pt>
                <c:pt idx="150">
                  <c:v>41456</c:v>
                </c:pt>
                <c:pt idx="151">
                  <c:v>41487</c:v>
                </c:pt>
                <c:pt idx="152">
                  <c:v>41518</c:v>
                </c:pt>
                <c:pt idx="153">
                  <c:v>41548</c:v>
                </c:pt>
                <c:pt idx="154">
                  <c:v>41579</c:v>
                </c:pt>
                <c:pt idx="155">
                  <c:v>41609</c:v>
                </c:pt>
                <c:pt idx="156">
                  <c:v>41640</c:v>
                </c:pt>
                <c:pt idx="157">
                  <c:v>41671</c:v>
                </c:pt>
                <c:pt idx="158">
                  <c:v>41699</c:v>
                </c:pt>
                <c:pt idx="159">
                  <c:v>41730</c:v>
                </c:pt>
                <c:pt idx="160">
                  <c:v>41760</c:v>
                </c:pt>
                <c:pt idx="161">
                  <c:v>41791</c:v>
                </c:pt>
                <c:pt idx="162">
                  <c:v>41821</c:v>
                </c:pt>
                <c:pt idx="163">
                  <c:v>41852</c:v>
                </c:pt>
                <c:pt idx="164">
                  <c:v>41883</c:v>
                </c:pt>
                <c:pt idx="165">
                  <c:v>41913</c:v>
                </c:pt>
                <c:pt idx="166">
                  <c:v>41944</c:v>
                </c:pt>
                <c:pt idx="167">
                  <c:v>41974</c:v>
                </c:pt>
                <c:pt idx="168">
                  <c:v>42005</c:v>
                </c:pt>
                <c:pt idx="169">
                  <c:v>42036</c:v>
                </c:pt>
                <c:pt idx="170">
                  <c:v>42064</c:v>
                </c:pt>
                <c:pt idx="171">
                  <c:v>42095</c:v>
                </c:pt>
                <c:pt idx="172">
                  <c:v>42125</c:v>
                </c:pt>
                <c:pt idx="173">
                  <c:v>42156</c:v>
                </c:pt>
                <c:pt idx="174">
                  <c:v>42186</c:v>
                </c:pt>
                <c:pt idx="175">
                  <c:v>42217</c:v>
                </c:pt>
                <c:pt idx="176">
                  <c:v>42248</c:v>
                </c:pt>
                <c:pt idx="177">
                  <c:v>42278</c:v>
                </c:pt>
                <c:pt idx="178">
                  <c:v>42309</c:v>
                </c:pt>
                <c:pt idx="179">
                  <c:v>42339</c:v>
                </c:pt>
                <c:pt idx="180">
                  <c:v>42370</c:v>
                </c:pt>
                <c:pt idx="181">
                  <c:v>42401</c:v>
                </c:pt>
                <c:pt idx="182">
                  <c:v>42430</c:v>
                </c:pt>
                <c:pt idx="183">
                  <c:v>42461</c:v>
                </c:pt>
                <c:pt idx="184">
                  <c:v>42491</c:v>
                </c:pt>
                <c:pt idx="185">
                  <c:v>42522</c:v>
                </c:pt>
                <c:pt idx="186">
                  <c:v>42552</c:v>
                </c:pt>
                <c:pt idx="187">
                  <c:v>42583</c:v>
                </c:pt>
                <c:pt idx="188">
                  <c:v>42614</c:v>
                </c:pt>
                <c:pt idx="189">
                  <c:v>42644</c:v>
                </c:pt>
                <c:pt idx="190">
                  <c:v>42675</c:v>
                </c:pt>
                <c:pt idx="191">
                  <c:v>42705</c:v>
                </c:pt>
                <c:pt idx="192">
                  <c:v>42736</c:v>
                </c:pt>
                <c:pt idx="193">
                  <c:v>42767</c:v>
                </c:pt>
                <c:pt idx="194">
                  <c:v>42795</c:v>
                </c:pt>
                <c:pt idx="195">
                  <c:v>42826</c:v>
                </c:pt>
                <c:pt idx="196">
                  <c:v>42856</c:v>
                </c:pt>
                <c:pt idx="197">
                  <c:v>42887</c:v>
                </c:pt>
                <c:pt idx="198">
                  <c:v>42917</c:v>
                </c:pt>
                <c:pt idx="199">
                  <c:v>42948</c:v>
                </c:pt>
                <c:pt idx="200">
                  <c:v>42979</c:v>
                </c:pt>
                <c:pt idx="201">
                  <c:v>43009</c:v>
                </c:pt>
                <c:pt idx="202">
                  <c:v>43040</c:v>
                </c:pt>
                <c:pt idx="203">
                  <c:v>43070</c:v>
                </c:pt>
                <c:pt idx="204">
                  <c:v>43101</c:v>
                </c:pt>
                <c:pt idx="205">
                  <c:v>43132</c:v>
                </c:pt>
                <c:pt idx="206">
                  <c:v>43160</c:v>
                </c:pt>
                <c:pt idx="207">
                  <c:v>43191</c:v>
                </c:pt>
                <c:pt idx="208">
                  <c:v>43221</c:v>
                </c:pt>
                <c:pt idx="209">
                  <c:v>43252</c:v>
                </c:pt>
                <c:pt idx="210">
                  <c:v>43282</c:v>
                </c:pt>
                <c:pt idx="211">
                  <c:v>43313</c:v>
                </c:pt>
                <c:pt idx="212">
                  <c:v>43344</c:v>
                </c:pt>
                <c:pt idx="213">
                  <c:v>43374</c:v>
                </c:pt>
                <c:pt idx="214">
                  <c:v>43405</c:v>
                </c:pt>
                <c:pt idx="215">
                  <c:v>43435</c:v>
                </c:pt>
                <c:pt idx="216">
                  <c:v>43466</c:v>
                </c:pt>
                <c:pt idx="217">
                  <c:v>43497</c:v>
                </c:pt>
                <c:pt idx="218">
                  <c:v>43525</c:v>
                </c:pt>
                <c:pt idx="219">
                  <c:v>43556</c:v>
                </c:pt>
                <c:pt idx="220">
                  <c:v>43586</c:v>
                </c:pt>
                <c:pt idx="221">
                  <c:v>43617</c:v>
                </c:pt>
                <c:pt idx="222">
                  <c:v>43647</c:v>
                </c:pt>
                <c:pt idx="223">
                  <c:v>43678</c:v>
                </c:pt>
                <c:pt idx="224">
                  <c:v>43709</c:v>
                </c:pt>
                <c:pt idx="225">
                  <c:v>43739</c:v>
                </c:pt>
                <c:pt idx="226">
                  <c:v>43770</c:v>
                </c:pt>
                <c:pt idx="227">
                  <c:v>43800</c:v>
                </c:pt>
                <c:pt idx="228">
                  <c:v>43831</c:v>
                </c:pt>
                <c:pt idx="229">
                  <c:v>43862</c:v>
                </c:pt>
                <c:pt idx="230">
                  <c:v>43891</c:v>
                </c:pt>
                <c:pt idx="231">
                  <c:v>43922</c:v>
                </c:pt>
                <c:pt idx="232">
                  <c:v>43952</c:v>
                </c:pt>
                <c:pt idx="233">
                  <c:v>43983</c:v>
                </c:pt>
                <c:pt idx="234">
                  <c:v>44013</c:v>
                </c:pt>
                <c:pt idx="235">
                  <c:v>44044</c:v>
                </c:pt>
                <c:pt idx="236">
                  <c:v>44075</c:v>
                </c:pt>
                <c:pt idx="237">
                  <c:v>44105</c:v>
                </c:pt>
                <c:pt idx="238">
                  <c:v>44136</c:v>
                </c:pt>
                <c:pt idx="239">
                  <c:v>44166</c:v>
                </c:pt>
                <c:pt idx="240">
                  <c:v>44197</c:v>
                </c:pt>
                <c:pt idx="241">
                  <c:v>44228</c:v>
                </c:pt>
                <c:pt idx="242">
                  <c:v>44256</c:v>
                </c:pt>
                <c:pt idx="243">
                  <c:v>44287</c:v>
                </c:pt>
                <c:pt idx="244">
                  <c:v>44317</c:v>
                </c:pt>
                <c:pt idx="245">
                  <c:v>44348</c:v>
                </c:pt>
                <c:pt idx="246">
                  <c:v>44378</c:v>
                </c:pt>
                <c:pt idx="247">
                  <c:v>44409</c:v>
                </c:pt>
                <c:pt idx="248">
                  <c:v>44440</c:v>
                </c:pt>
                <c:pt idx="249">
                  <c:v>44470</c:v>
                </c:pt>
                <c:pt idx="250">
                  <c:v>44501</c:v>
                </c:pt>
                <c:pt idx="251">
                  <c:v>44531</c:v>
                </c:pt>
                <c:pt idx="252">
                  <c:v>44562</c:v>
                </c:pt>
                <c:pt idx="253">
                  <c:v>44593</c:v>
                </c:pt>
                <c:pt idx="254">
                  <c:v>44621</c:v>
                </c:pt>
                <c:pt idx="255">
                  <c:v>44652</c:v>
                </c:pt>
                <c:pt idx="256">
                  <c:v>44682</c:v>
                </c:pt>
                <c:pt idx="257">
                  <c:v>44713</c:v>
                </c:pt>
                <c:pt idx="258">
                  <c:v>44743</c:v>
                </c:pt>
                <c:pt idx="259">
                  <c:v>44774</c:v>
                </c:pt>
                <c:pt idx="260">
                  <c:v>44805</c:v>
                </c:pt>
                <c:pt idx="261">
                  <c:v>44835</c:v>
                </c:pt>
                <c:pt idx="262">
                  <c:v>44866</c:v>
                </c:pt>
                <c:pt idx="263">
                  <c:v>44896</c:v>
                </c:pt>
                <c:pt idx="264">
                  <c:v>44927</c:v>
                </c:pt>
                <c:pt idx="265">
                  <c:v>44958</c:v>
                </c:pt>
                <c:pt idx="266">
                  <c:v>44986</c:v>
                </c:pt>
                <c:pt idx="267">
                  <c:v>45017</c:v>
                </c:pt>
                <c:pt idx="268">
                  <c:v>45047</c:v>
                </c:pt>
                <c:pt idx="269">
                  <c:v>45078</c:v>
                </c:pt>
                <c:pt idx="270">
                  <c:v>45108</c:v>
                </c:pt>
                <c:pt idx="271">
                  <c:v>45139</c:v>
                </c:pt>
                <c:pt idx="272">
                  <c:v>45170</c:v>
                </c:pt>
                <c:pt idx="273">
                  <c:v>45200</c:v>
                </c:pt>
                <c:pt idx="274">
                  <c:v>45231</c:v>
                </c:pt>
                <c:pt idx="275">
                  <c:v>45261</c:v>
                </c:pt>
                <c:pt idx="276">
                  <c:v>45292</c:v>
                </c:pt>
                <c:pt idx="277">
                  <c:v>45323</c:v>
                </c:pt>
                <c:pt idx="278">
                  <c:v>45352</c:v>
                </c:pt>
                <c:pt idx="279">
                  <c:v>45383</c:v>
                </c:pt>
                <c:pt idx="280">
                  <c:v>45413</c:v>
                </c:pt>
                <c:pt idx="281">
                  <c:v>45444</c:v>
                </c:pt>
                <c:pt idx="282">
                  <c:v>45474</c:v>
                </c:pt>
                <c:pt idx="283">
                  <c:v>45505</c:v>
                </c:pt>
                <c:pt idx="284">
                  <c:v>45536</c:v>
                </c:pt>
                <c:pt idx="285">
                  <c:v>45566</c:v>
                </c:pt>
                <c:pt idx="286">
                  <c:v>45597</c:v>
                </c:pt>
                <c:pt idx="287">
                  <c:v>45627</c:v>
                </c:pt>
              </c:numCache>
            </c:numRef>
          </c:cat>
          <c:val>
            <c:numRef>
              <c:f>Taul1!$H$137:$H$424</c:f>
              <c:numCache>
                <c:formatCode>General</c:formatCode>
                <c:ptCount val="288"/>
                <c:pt idx="0">
                  <c:v>5.6533827618164878</c:v>
                </c:pt>
                <c:pt idx="1">
                  <c:v>4.7236180904522769</c:v>
                </c:pt>
                <c:pt idx="2">
                  <c:v>4.8179871520342488</c:v>
                </c:pt>
                <c:pt idx="3">
                  <c:v>4.9342105263157947</c:v>
                </c:pt>
                <c:pt idx="4">
                  <c:v>2.0325203252032509</c:v>
                </c:pt>
                <c:pt idx="5">
                  <c:v>1.8234165067178481</c:v>
                </c:pt>
                <c:pt idx="6">
                  <c:v>1.3812154696132524</c:v>
                </c:pt>
                <c:pt idx="7">
                  <c:v>0.17777777777779136</c:v>
                </c:pt>
                <c:pt idx="8">
                  <c:v>-1.1035653650254602</c:v>
                </c:pt>
                <c:pt idx="9">
                  <c:v>-2.0542317173377143</c:v>
                </c:pt>
                <c:pt idx="10">
                  <c:v>-2.5326797385620949</c:v>
                </c:pt>
                <c:pt idx="11">
                  <c:v>-4.3333333333333286</c:v>
                </c:pt>
                <c:pt idx="12">
                  <c:v>-3.5087719298245617</c:v>
                </c:pt>
                <c:pt idx="13">
                  <c:v>-1.0556621880998165</c:v>
                </c:pt>
                <c:pt idx="14">
                  <c:v>-1.9407558733401515</c:v>
                </c:pt>
                <c:pt idx="15">
                  <c:v>0.41797283176592259</c:v>
                </c:pt>
                <c:pt idx="16">
                  <c:v>2.0916334661354625</c:v>
                </c:pt>
                <c:pt idx="17">
                  <c:v>1.5080113100848394</c:v>
                </c:pt>
                <c:pt idx="18">
                  <c:v>1.5440508628519609</c:v>
                </c:pt>
                <c:pt idx="19">
                  <c:v>1.6858917480035274</c:v>
                </c:pt>
                <c:pt idx="20">
                  <c:v>1.7167381974248883</c:v>
                </c:pt>
                <c:pt idx="21">
                  <c:v>1.0067114093959617</c:v>
                </c:pt>
                <c:pt idx="22">
                  <c:v>-8.3822296730929224E-2</c:v>
                </c:pt>
                <c:pt idx="23">
                  <c:v>-1.1324041811846683</c:v>
                </c:pt>
                <c:pt idx="24">
                  <c:v>-1.181818181818187</c:v>
                </c:pt>
                <c:pt idx="25">
                  <c:v>-1.0669253152279339</c:v>
                </c:pt>
                <c:pt idx="26">
                  <c:v>-1.25</c:v>
                </c:pt>
                <c:pt idx="27">
                  <c:v>-1.0405827263267469</c:v>
                </c:pt>
                <c:pt idx="28">
                  <c:v>-2.1463414634146432</c:v>
                </c:pt>
                <c:pt idx="29">
                  <c:v>-1.3927576601671348</c:v>
                </c:pt>
                <c:pt idx="30">
                  <c:v>-1.0733452593917718</c:v>
                </c:pt>
                <c:pt idx="31">
                  <c:v>-0.6108202443280959</c:v>
                </c:pt>
                <c:pt idx="32">
                  <c:v>1.1814345991561197</c:v>
                </c:pt>
                <c:pt idx="33">
                  <c:v>5.3156146179401844</c:v>
                </c:pt>
                <c:pt idx="34">
                  <c:v>8.4731543624161105</c:v>
                </c:pt>
                <c:pt idx="35">
                  <c:v>12.070484581497794</c:v>
                </c:pt>
                <c:pt idx="36">
                  <c:v>11.499540018399259</c:v>
                </c:pt>
                <c:pt idx="37">
                  <c:v>10.196078431372555</c:v>
                </c:pt>
                <c:pt idx="38">
                  <c:v>10.654008438818579</c:v>
                </c:pt>
                <c:pt idx="39">
                  <c:v>8.9379600420609933</c:v>
                </c:pt>
                <c:pt idx="40">
                  <c:v>9.4715852442671888</c:v>
                </c:pt>
                <c:pt idx="41">
                  <c:v>7.8154425612052734</c:v>
                </c:pt>
                <c:pt idx="42">
                  <c:v>5.8770343580470126</c:v>
                </c:pt>
                <c:pt idx="43">
                  <c:v>6.2335381913959651</c:v>
                </c:pt>
                <c:pt idx="44">
                  <c:v>4.1701417848206859</c:v>
                </c:pt>
                <c:pt idx="45">
                  <c:v>0.78864353312302171</c:v>
                </c:pt>
                <c:pt idx="46">
                  <c:v>0.54137664346481529</c:v>
                </c:pt>
                <c:pt idx="47">
                  <c:v>0.62893081761006897</c:v>
                </c:pt>
                <c:pt idx="48">
                  <c:v>-0.57755775577558666</c:v>
                </c:pt>
                <c:pt idx="49">
                  <c:v>0.62277580071172167</c:v>
                </c:pt>
                <c:pt idx="50">
                  <c:v>0.85795996186843126</c:v>
                </c:pt>
                <c:pt idx="51">
                  <c:v>2.1235521235521304</c:v>
                </c:pt>
                <c:pt idx="52">
                  <c:v>1.1839708561020075</c:v>
                </c:pt>
                <c:pt idx="53">
                  <c:v>2.969432314410497</c:v>
                </c:pt>
                <c:pt idx="54">
                  <c:v>4.1844577284372235</c:v>
                </c:pt>
                <c:pt idx="55">
                  <c:v>4.7933884297520564</c:v>
                </c:pt>
                <c:pt idx="56">
                  <c:v>6.5652522017614103</c:v>
                </c:pt>
                <c:pt idx="57">
                  <c:v>8.9984350547730969</c:v>
                </c:pt>
                <c:pt idx="58">
                  <c:v>8.8461538461538396</c:v>
                </c:pt>
                <c:pt idx="59">
                  <c:v>9.0625</c:v>
                </c:pt>
                <c:pt idx="60">
                  <c:v>11.286307053941911</c:v>
                </c:pt>
                <c:pt idx="61">
                  <c:v>9.3722369584438638</c:v>
                </c:pt>
                <c:pt idx="62">
                  <c:v>10.113421550094515</c:v>
                </c:pt>
                <c:pt idx="63">
                  <c:v>6.805293005671075</c:v>
                </c:pt>
                <c:pt idx="64">
                  <c:v>6.3006300630062952</c:v>
                </c:pt>
                <c:pt idx="65">
                  <c:v>4.9194232400339217</c:v>
                </c:pt>
                <c:pt idx="66">
                  <c:v>3.7704918032786878</c:v>
                </c:pt>
                <c:pt idx="67">
                  <c:v>2.6025236593060015</c:v>
                </c:pt>
                <c:pt idx="68">
                  <c:v>1.953418482344091</c:v>
                </c:pt>
                <c:pt idx="69">
                  <c:v>0</c:v>
                </c:pt>
                <c:pt idx="70">
                  <c:v>0.98939929328622611</c:v>
                </c:pt>
                <c:pt idx="71">
                  <c:v>0.93123209169054633</c:v>
                </c:pt>
                <c:pt idx="72">
                  <c:v>-0.37285607755406147</c:v>
                </c:pt>
                <c:pt idx="73">
                  <c:v>0.40420371867419647</c:v>
                </c:pt>
                <c:pt idx="74">
                  <c:v>2.8326180257510742</c:v>
                </c:pt>
                <c:pt idx="75">
                  <c:v>6.7256637168141538</c:v>
                </c:pt>
                <c:pt idx="76">
                  <c:v>7.1972904318374304</c:v>
                </c:pt>
                <c:pt idx="77">
                  <c:v>6.3864187550525457</c:v>
                </c:pt>
                <c:pt idx="78">
                  <c:v>6.0821484992101205</c:v>
                </c:pt>
                <c:pt idx="79">
                  <c:v>7.7632590315142238</c:v>
                </c:pt>
                <c:pt idx="80">
                  <c:v>7.7376565954311047</c:v>
                </c:pt>
                <c:pt idx="81">
                  <c:v>8.6145010768126298</c:v>
                </c:pt>
                <c:pt idx="82">
                  <c:v>8.1875437368789363</c:v>
                </c:pt>
                <c:pt idx="83">
                  <c:v>8.5876508161816929</c:v>
                </c:pt>
                <c:pt idx="84">
                  <c:v>9.8802395209580851</c:v>
                </c:pt>
                <c:pt idx="85">
                  <c:v>11.835748792270536</c:v>
                </c:pt>
                <c:pt idx="86">
                  <c:v>10.183639398998338</c:v>
                </c:pt>
                <c:pt idx="87">
                  <c:v>9.0381426202321649</c:v>
                </c:pt>
                <c:pt idx="88">
                  <c:v>7.2669826224328773</c:v>
                </c:pt>
                <c:pt idx="89">
                  <c:v>5.2431610942249307</c:v>
                </c:pt>
                <c:pt idx="90">
                  <c:v>3.276247207743836</c:v>
                </c:pt>
                <c:pt idx="91">
                  <c:v>1.4978601997147223</c:v>
                </c:pt>
                <c:pt idx="92">
                  <c:v>-0.13679890560874242</c:v>
                </c:pt>
                <c:pt idx="93">
                  <c:v>-1.8506278916060808</c:v>
                </c:pt>
                <c:pt idx="94">
                  <c:v>-5.7567917205692112</c:v>
                </c:pt>
                <c:pt idx="95">
                  <c:v>-7.385620915032689</c:v>
                </c:pt>
                <c:pt idx="96">
                  <c:v>-8.1062670299727557</c:v>
                </c:pt>
                <c:pt idx="97">
                  <c:v>-10.943124550036003</c:v>
                </c:pt>
                <c:pt idx="98">
                  <c:v>-11.666666666666671</c:v>
                </c:pt>
                <c:pt idx="99">
                  <c:v>-15.437262357414454</c:v>
                </c:pt>
                <c:pt idx="100">
                  <c:v>-17.599410898379972</c:v>
                </c:pt>
                <c:pt idx="101">
                  <c:v>-18.989169675090253</c:v>
                </c:pt>
                <c:pt idx="102">
                  <c:v>-19.97116077865897</c:v>
                </c:pt>
                <c:pt idx="103">
                  <c:v>-22.979620520028121</c:v>
                </c:pt>
                <c:pt idx="104">
                  <c:v>-23.287671232876718</c:v>
                </c:pt>
                <c:pt idx="105">
                  <c:v>-22.558922558922561</c:v>
                </c:pt>
                <c:pt idx="106">
                  <c:v>-22.374742621825675</c:v>
                </c:pt>
                <c:pt idx="107">
                  <c:v>-22.371206774876498</c:v>
                </c:pt>
                <c:pt idx="108">
                  <c:v>-20.014825796886583</c:v>
                </c:pt>
                <c:pt idx="109">
                  <c:v>-16.410670978172988</c:v>
                </c:pt>
                <c:pt idx="110">
                  <c:v>-13.807890222984554</c:v>
                </c:pt>
                <c:pt idx="111">
                  <c:v>-7.7338129496402956</c:v>
                </c:pt>
                <c:pt idx="112">
                  <c:v>-1.5192135835567484</c:v>
                </c:pt>
                <c:pt idx="113">
                  <c:v>3.2976827094474146</c:v>
                </c:pt>
                <c:pt idx="114">
                  <c:v>6.3063063063063112</c:v>
                </c:pt>
                <c:pt idx="115">
                  <c:v>11.587591240875923</c:v>
                </c:pt>
                <c:pt idx="116">
                  <c:v>14.285714285714278</c:v>
                </c:pt>
                <c:pt idx="117">
                  <c:v>15.130434782608688</c:v>
                </c:pt>
                <c:pt idx="118">
                  <c:v>18.744473916887713</c:v>
                </c:pt>
                <c:pt idx="119">
                  <c:v>19.545454545454561</c:v>
                </c:pt>
                <c:pt idx="120">
                  <c:v>16.682113067655237</c:v>
                </c:pt>
                <c:pt idx="121">
                  <c:v>14.313346228239837</c:v>
                </c:pt>
                <c:pt idx="122">
                  <c:v>14.328358208955237</c:v>
                </c:pt>
                <c:pt idx="123">
                  <c:v>11.988304093567265</c:v>
                </c:pt>
                <c:pt idx="124">
                  <c:v>9.0744101633393797</c:v>
                </c:pt>
                <c:pt idx="125">
                  <c:v>6.9887834339948256</c:v>
                </c:pt>
                <c:pt idx="126">
                  <c:v>6.3559322033898411</c:v>
                </c:pt>
                <c:pt idx="127">
                  <c:v>3.0253475061324622</c:v>
                </c:pt>
                <c:pt idx="128">
                  <c:v>3.4375</c:v>
                </c:pt>
                <c:pt idx="129">
                  <c:v>5.7401812688821678</c:v>
                </c:pt>
                <c:pt idx="130">
                  <c:v>7.1481757259865901</c:v>
                </c:pt>
                <c:pt idx="131">
                  <c:v>5.8555133079847792</c:v>
                </c:pt>
                <c:pt idx="132">
                  <c:v>5.1628276409849008</c:v>
                </c:pt>
                <c:pt idx="133">
                  <c:v>4.6531302876480396</c:v>
                </c:pt>
                <c:pt idx="134">
                  <c:v>2.0017406440382786</c:v>
                </c:pt>
                <c:pt idx="135">
                  <c:v>0.43516100957354809</c:v>
                </c:pt>
                <c:pt idx="136">
                  <c:v>-8.3194675540781304E-2</c:v>
                </c:pt>
                <c:pt idx="137">
                  <c:v>-2.9032258064516014</c:v>
                </c:pt>
                <c:pt idx="138">
                  <c:v>-3.7450199203187253</c:v>
                </c:pt>
                <c:pt idx="139">
                  <c:v>-2.6984126984126959</c:v>
                </c:pt>
                <c:pt idx="140">
                  <c:v>-6.3444108761329403</c:v>
                </c:pt>
                <c:pt idx="141">
                  <c:v>-8.8571428571428612</c:v>
                </c:pt>
                <c:pt idx="142">
                  <c:v>-10.215427380125092</c:v>
                </c:pt>
                <c:pt idx="143">
                  <c:v>-9.841954022988503</c:v>
                </c:pt>
                <c:pt idx="144">
                  <c:v>-8.2326283987915474</c:v>
                </c:pt>
                <c:pt idx="145">
                  <c:v>-9.3775262732417275</c:v>
                </c:pt>
                <c:pt idx="146">
                  <c:v>-7.5085324232081945</c:v>
                </c:pt>
                <c:pt idx="147">
                  <c:v>-10.485268630849234</c:v>
                </c:pt>
                <c:pt idx="148">
                  <c:v>-10.241465445462111</c:v>
                </c:pt>
                <c:pt idx="149">
                  <c:v>-6.312292358804001</c:v>
                </c:pt>
                <c:pt idx="150">
                  <c:v>-4.8841059602648897</c:v>
                </c:pt>
                <c:pt idx="151">
                  <c:v>-4.0783034257748767</c:v>
                </c:pt>
                <c:pt idx="152">
                  <c:v>-4.0322580645161281</c:v>
                </c:pt>
                <c:pt idx="153">
                  <c:v>-3.9968652037617431</c:v>
                </c:pt>
                <c:pt idx="154">
                  <c:v>-5.2631578947368212</c:v>
                </c:pt>
                <c:pt idx="155">
                  <c:v>-5.4980079681274958</c:v>
                </c:pt>
                <c:pt idx="156">
                  <c:v>-5.0205761316872355</c:v>
                </c:pt>
                <c:pt idx="157">
                  <c:v>-3.657448706512028</c:v>
                </c:pt>
                <c:pt idx="158">
                  <c:v>-5.9963099630996339</c:v>
                </c:pt>
                <c:pt idx="159">
                  <c:v>-2.8073572120038648</c:v>
                </c:pt>
                <c:pt idx="160">
                  <c:v>-6.2152133580704998</c:v>
                </c:pt>
                <c:pt idx="161">
                  <c:v>-8.3333333333333286</c:v>
                </c:pt>
                <c:pt idx="162">
                  <c:v>-9.57354221061793</c:v>
                </c:pt>
                <c:pt idx="163">
                  <c:v>-12.074829931972772</c:v>
                </c:pt>
                <c:pt idx="164">
                  <c:v>-11.512605042016816</c:v>
                </c:pt>
                <c:pt idx="165">
                  <c:v>-12.489795918367335</c:v>
                </c:pt>
                <c:pt idx="166">
                  <c:v>-11.764705882352942</c:v>
                </c:pt>
                <c:pt idx="167">
                  <c:v>-12.057335581787527</c:v>
                </c:pt>
                <c:pt idx="168">
                  <c:v>-11.43847487001733</c:v>
                </c:pt>
                <c:pt idx="169">
                  <c:v>-9.9074074074074048</c:v>
                </c:pt>
                <c:pt idx="170">
                  <c:v>-7.6545632973503643</c:v>
                </c:pt>
                <c:pt idx="171">
                  <c:v>-7.1713147410358573</c:v>
                </c:pt>
                <c:pt idx="172">
                  <c:v>-6.6271018793273839</c:v>
                </c:pt>
                <c:pt idx="173">
                  <c:v>-6.9632495164410102</c:v>
                </c:pt>
                <c:pt idx="174">
                  <c:v>-7.0259865255053029</c:v>
                </c:pt>
                <c:pt idx="175">
                  <c:v>-2.9980657640232096</c:v>
                </c:pt>
                <c:pt idx="176">
                  <c:v>-0.56980056980056304</c:v>
                </c:pt>
                <c:pt idx="177">
                  <c:v>9.3283582089554784E-2</c:v>
                </c:pt>
                <c:pt idx="178">
                  <c:v>-0.83333333333334281</c:v>
                </c:pt>
                <c:pt idx="179">
                  <c:v>2.1093000958772876</c:v>
                </c:pt>
                <c:pt idx="180">
                  <c:v>3.9138943248532314</c:v>
                </c:pt>
                <c:pt idx="181">
                  <c:v>5.0359712230215905</c:v>
                </c:pt>
                <c:pt idx="182">
                  <c:v>4.357066950053138</c:v>
                </c:pt>
                <c:pt idx="183">
                  <c:v>6.0085836909871091</c:v>
                </c:pt>
                <c:pt idx="184">
                  <c:v>9.7457627118644012</c:v>
                </c:pt>
                <c:pt idx="185">
                  <c:v>14.449064449064437</c:v>
                </c:pt>
                <c:pt idx="186">
                  <c:v>13.975155279503099</c:v>
                </c:pt>
                <c:pt idx="187">
                  <c:v>15.752741774675954</c:v>
                </c:pt>
                <c:pt idx="188">
                  <c:v>13.658070678127984</c:v>
                </c:pt>
                <c:pt idx="189">
                  <c:v>14.818266542404473</c:v>
                </c:pt>
                <c:pt idx="190">
                  <c:v>14.752567693744183</c:v>
                </c:pt>
                <c:pt idx="191">
                  <c:v>13.239436619718319</c:v>
                </c:pt>
                <c:pt idx="192">
                  <c:v>10.169491525423723</c:v>
                </c:pt>
                <c:pt idx="193">
                  <c:v>12.230919765166348</c:v>
                </c:pt>
                <c:pt idx="194">
                  <c:v>13.849287169042768</c:v>
                </c:pt>
                <c:pt idx="195">
                  <c:v>11.639676113360323</c:v>
                </c:pt>
                <c:pt idx="196">
                  <c:v>10.328185328185342</c:v>
                </c:pt>
                <c:pt idx="197">
                  <c:v>7.6294277929155356</c:v>
                </c:pt>
                <c:pt idx="198">
                  <c:v>8.7193460490463366</c:v>
                </c:pt>
                <c:pt idx="199">
                  <c:v>6.9767441860465169</c:v>
                </c:pt>
                <c:pt idx="200">
                  <c:v>6.2184873949579895</c:v>
                </c:pt>
                <c:pt idx="201">
                  <c:v>5.2759740259740227</c:v>
                </c:pt>
                <c:pt idx="202">
                  <c:v>7.4857607811228632</c:v>
                </c:pt>
                <c:pt idx="203">
                  <c:v>8.9552238805970177</c:v>
                </c:pt>
                <c:pt idx="204">
                  <c:v>12.564102564102569</c:v>
                </c:pt>
                <c:pt idx="205">
                  <c:v>11.682650392327815</c:v>
                </c:pt>
                <c:pt idx="206">
                  <c:v>11.538461538461547</c:v>
                </c:pt>
                <c:pt idx="207">
                  <c:v>13.145965548504094</c:v>
                </c:pt>
                <c:pt idx="208">
                  <c:v>11.461067366579186</c:v>
                </c:pt>
                <c:pt idx="209">
                  <c:v>9.957805907173011</c:v>
                </c:pt>
                <c:pt idx="210">
                  <c:v>9.3567251461988263</c:v>
                </c:pt>
                <c:pt idx="211">
                  <c:v>7.8904991948470098</c:v>
                </c:pt>
                <c:pt idx="212">
                  <c:v>7.5949367088607573</c:v>
                </c:pt>
                <c:pt idx="213">
                  <c:v>6.8619892058596719</c:v>
                </c:pt>
                <c:pt idx="214">
                  <c:v>6.7373202119606503</c:v>
                </c:pt>
                <c:pt idx="215">
                  <c:v>5.0228310502283193</c:v>
                </c:pt>
                <c:pt idx="216">
                  <c:v>1.5945330296127622</c:v>
                </c:pt>
                <c:pt idx="217">
                  <c:v>0.62451209992192958</c:v>
                </c:pt>
                <c:pt idx="218">
                  <c:v>2.2453889334402675</c:v>
                </c:pt>
                <c:pt idx="219">
                  <c:v>1.362179487179489</c:v>
                </c:pt>
                <c:pt idx="220">
                  <c:v>-0.86342229199372866</c:v>
                </c:pt>
                <c:pt idx="221">
                  <c:v>-2.7628549501151269</c:v>
                </c:pt>
                <c:pt idx="222">
                  <c:v>-3.1321619556913731</c:v>
                </c:pt>
                <c:pt idx="223">
                  <c:v>-2.9850746268656678</c:v>
                </c:pt>
                <c:pt idx="224">
                  <c:v>-4.1176470588235219</c:v>
                </c:pt>
                <c:pt idx="225">
                  <c:v>-5.3391053391053447</c:v>
                </c:pt>
                <c:pt idx="226">
                  <c:v>-7.6595744680851112</c:v>
                </c:pt>
                <c:pt idx="227">
                  <c:v>-6.7391304347826093</c:v>
                </c:pt>
                <c:pt idx="228">
                  <c:v>-6.4275037369207837</c:v>
                </c:pt>
                <c:pt idx="229">
                  <c:v>-6.2839410395655619</c:v>
                </c:pt>
                <c:pt idx="230">
                  <c:v>-4.470588235294116</c:v>
                </c:pt>
                <c:pt idx="231">
                  <c:v>-5.2173913043478137</c:v>
                </c:pt>
                <c:pt idx="232">
                  <c:v>-5.0673000791765617</c:v>
                </c:pt>
                <c:pt idx="233">
                  <c:v>-4.7355958958168856</c:v>
                </c:pt>
                <c:pt idx="234">
                  <c:v>-5.0473186119873787</c:v>
                </c:pt>
                <c:pt idx="235">
                  <c:v>-9.6923076923076934</c:v>
                </c:pt>
                <c:pt idx="236">
                  <c:v>-6.5184049079754658</c:v>
                </c:pt>
                <c:pt idx="237">
                  <c:v>-5.5640243902438868</c:v>
                </c:pt>
                <c:pt idx="238">
                  <c:v>-5.9139784946236489</c:v>
                </c:pt>
                <c:pt idx="239">
                  <c:v>-7.3815073815073617</c:v>
                </c:pt>
                <c:pt idx="240">
                  <c:v>-6.7891373801916899</c:v>
                </c:pt>
                <c:pt idx="241">
                  <c:v>-5.7947019867549727</c:v>
                </c:pt>
                <c:pt idx="242">
                  <c:v>-8.2922824302134615</c:v>
                </c:pt>
                <c:pt idx="243">
                  <c:v>-4.8373644703920036</c:v>
                </c:pt>
                <c:pt idx="244">
                  <c:v>-0.91743119266055828</c:v>
                </c:pt>
                <c:pt idx="245">
                  <c:v>1.2427506213753077</c:v>
                </c:pt>
                <c:pt idx="246">
                  <c:v>3.7375415282391913</c:v>
                </c:pt>
                <c:pt idx="247">
                  <c:v>7.5809199318568972</c:v>
                </c:pt>
                <c:pt idx="248">
                  <c:v>6.3166529942575949</c:v>
                </c:pt>
                <c:pt idx="249">
                  <c:v>7.1832122679580408</c:v>
                </c:pt>
                <c:pt idx="250">
                  <c:v>10.530612244897981</c:v>
                </c:pt>
                <c:pt idx="251">
                  <c:v>11.744966442953</c:v>
                </c:pt>
                <c:pt idx="252">
                  <c:v>11.910882604969999</c:v>
                </c:pt>
                <c:pt idx="253">
                  <c:v>10.984182776801404</c:v>
                </c:pt>
                <c:pt idx="254">
                  <c:v>11.996418979409128</c:v>
                </c:pt>
                <c:pt idx="255">
                  <c:v>10.254163014899206</c:v>
                </c:pt>
                <c:pt idx="256">
                  <c:v>5.7239057239057303</c:v>
                </c:pt>
                <c:pt idx="257">
                  <c:v>5.1554828150572831</c:v>
                </c:pt>
                <c:pt idx="258">
                  <c:v>2.7221777421937645</c:v>
                </c:pt>
                <c:pt idx="259">
                  <c:v>1.8210609659540751</c:v>
                </c:pt>
                <c:pt idx="260">
                  <c:v>-0.30864197530864601</c:v>
                </c:pt>
                <c:pt idx="261">
                  <c:v>-2.033132530120497</c:v>
                </c:pt>
                <c:pt idx="262">
                  <c:v>-5.3175775480059286</c:v>
                </c:pt>
                <c:pt idx="263">
                  <c:v>-5.4804804804804661</c:v>
                </c:pt>
                <c:pt idx="264">
                  <c:v>-7.8101071975497689</c:v>
                </c:pt>
                <c:pt idx="265">
                  <c:v>-7.6801266825019923</c:v>
                </c:pt>
                <c:pt idx="266">
                  <c:v>-9.3525179856114988</c:v>
                </c:pt>
                <c:pt idx="267">
                  <c:v>-11.526232114467405</c:v>
                </c:pt>
                <c:pt idx="268">
                  <c:v>-12.818471337579624</c:v>
                </c:pt>
                <c:pt idx="269">
                  <c:v>-14.552529182879383</c:v>
                </c:pt>
                <c:pt idx="270">
                  <c:v>-16.212003117692916</c:v>
                </c:pt>
                <c:pt idx="271">
                  <c:v>-17.107309486780721</c:v>
                </c:pt>
                <c:pt idx="272">
                  <c:v>-18.885448916408663</c:v>
                </c:pt>
                <c:pt idx="273">
                  <c:v>-19.830899308224431</c:v>
                </c:pt>
                <c:pt idx="274">
                  <c:v>-20.67082683307332</c:v>
                </c:pt>
                <c:pt idx="275">
                  <c:v>-22.398729150119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894-41A2-8B0C-57F046B78A5F}"/>
            </c:ext>
          </c:extLst>
        </c:ser>
        <c:ser>
          <c:idx val="1"/>
          <c:order val="1"/>
          <c:tx>
            <c:strRef>
              <c:f>Taul1!$I$124</c:f>
              <c:strCache>
                <c:ptCount val="1"/>
                <c:pt idx="0">
                  <c:v>Luvat 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ul1!$G$137:$G$424</c:f>
              <c:numCache>
                <c:formatCode>m/d/yyyy</c:formatCode>
                <c:ptCount val="288"/>
                <c:pt idx="0">
                  <c:v>36892</c:v>
                </c:pt>
                <c:pt idx="1">
                  <c:v>36923</c:v>
                </c:pt>
                <c:pt idx="2">
                  <c:v>36951</c:v>
                </c:pt>
                <c:pt idx="3">
                  <c:v>36982</c:v>
                </c:pt>
                <c:pt idx="4">
                  <c:v>37012</c:v>
                </c:pt>
                <c:pt idx="5">
                  <c:v>37043</c:v>
                </c:pt>
                <c:pt idx="6">
                  <c:v>37073</c:v>
                </c:pt>
                <c:pt idx="7">
                  <c:v>37104</c:v>
                </c:pt>
                <c:pt idx="8">
                  <c:v>37135</c:v>
                </c:pt>
                <c:pt idx="9">
                  <c:v>37165</c:v>
                </c:pt>
                <c:pt idx="10">
                  <c:v>37196</c:v>
                </c:pt>
                <c:pt idx="11">
                  <c:v>37226</c:v>
                </c:pt>
                <c:pt idx="12">
                  <c:v>37257</c:v>
                </c:pt>
                <c:pt idx="13">
                  <c:v>37288</c:v>
                </c:pt>
                <c:pt idx="14">
                  <c:v>37316</c:v>
                </c:pt>
                <c:pt idx="15">
                  <c:v>37347</c:v>
                </c:pt>
                <c:pt idx="16">
                  <c:v>37377</c:v>
                </c:pt>
                <c:pt idx="17">
                  <c:v>37408</c:v>
                </c:pt>
                <c:pt idx="18">
                  <c:v>37438</c:v>
                </c:pt>
                <c:pt idx="19">
                  <c:v>37469</c:v>
                </c:pt>
                <c:pt idx="20">
                  <c:v>37500</c:v>
                </c:pt>
                <c:pt idx="21">
                  <c:v>37530</c:v>
                </c:pt>
                <c:pt idx="22">
                  <c:v>37561</c:v>
                </c:pt>
                <c:pt idx="23">
                  <c:v>37591</c:v>
                </c:pt>
                <c:pt idx="24">
                  <c:v>37622</c:v>
                </c:pt>
                <c:pt idx="25">
                  <c:v>37653</c:v>
                </c:pt>
                <c:pt idx="26">
                  <c:v>37681</c:v>
                </c:pt>
                <c:pt idx="27">
                  <c:v>37712</c:v>
                </c:pt>
                <c:pt idx="28">
                  <c:v>37742</c:v>
                </c:pt>
                <c:pt idx="29">
                  <c:v>37773</c:v>
                </c:pt>
                <c:pt idx="30">
                  <c:v>37803</c:v>
                </c:pt>
                <c:pt idx="31">
                  <c:v>37834</c:v>
                </c:pt>
                <c:pt idx="32">
                  <c:v>37865</c:v>
                </c:pt>
                <c:pt idx="33">
                  <c:v>37895</c:v>
                </c:pt>
                <c:pt idx="34">
                  <c:v>37926</c:v>
                </c:pt>
                <c:pt idx="35">
                  <c:v>37956</c:v>
                </c:pt>
                <c:pt idx="36">
                  <c:v>37987</c:v>
                </c:pt>
                <c:pt idx="37">
                  <c:v>38018</c:v>
                </c:pt>
                <c:pt idx="38">
                  <c:v>38047</c:v>
                </c:pt>
                <c:pt idx="39">
                  <c:v>38078</c:v>
                </c:pt>
                <c:pt idx="40">
                  <c:v>38108</c:v>
                </c:pt>
                <c:pt idx="41">
                  <c:v>38139</c:v>
                </c:pt>
                <c:pt idx="42">
                  <c:v>38169</c:v>
                </c:pt>
                <c:pt idx="43">
                  <c:v>38200</c:v>
                </c:pt>
                <c:pt idx="44">
                  <c:v>38231</c:v>
                </c:pt>
                <c:pt idx="45">
                  <c:v>38261</c:v>
                </c:pt>
                <c:pt idx="46">
                  <c:v>38292</c:v>
                </c:pt>
                <c:pt idx="47">
                  <c:v>38322</c:v>
                </c:pt>
                <c:pt idx="48">
                  <c:v>38353</c:v>
                </c:pt>
                <c:pt idx="49">
                  <c:v>38384</c:v>
                </c:pt>
                <c:pt idx="50">
                  <c:v>38412</c:v>
                </c:pt>
                <c:pt idx="51">
                  <c:v>38443</c:v>
                </c:pt>
                <c:pt idx="52">
                  <c:v>38473</c:v>
                </c:pt>
                <c:pt idx="53">
                  <c:v>38504</c:v>
                </c:pt>
                <c:pt idx="54">
                  <c:v>38534</c:v>
                </c:pt>
                <c:pt idx="55">
                  <c:v>38565</c:v>
                </c:pt>
                <c:pt idx="56">
                  <c:v>38596</c:v>
                </c:pt>
                <c:pt idx="57">
                  <c:v>38626</c:v>
                </c:pt>
                <c:pt idx="58">
                  <c:v>38657</c:v>
                </c:pt>
                <c:pt idx="59">
                  <c:v>38687</c:v>
                </c:pt>
                <c:pt idx="60">
                  <c:v>38718</c:v>
                </c:pt>
                <c:pt idx="61">
                  <c:v>38749</c:v>
                </c:pt>
                <c:pt idx="62">
                  <c:v>38777</c:v>
                </c:pt>
                <c:pt idx="63">
                  <c:v>38808</c:v>
                </c:pt>
                <c:pt idx="64">
                  <c:v>38838</c:v>
                </c:pt>
                <c:pt idx="65">
                  <c:v>38869</c:v>
                </c:pt>
                <c:pt idx="66">
                  <c:v>38899</c:v>
                </c:pt>
                <c:pt idx="67">
                  <c:v>38930</c:v>
                </c:pt>
                <c:pt idx="68">
                  <c:v>38961</c:v>
                </c:pt>
                <c:pt idx="69">
                  <c:v>38991</c:v>
                </c:pt>
                <c:pt idx="70">
                  <c:v>39022</c:v>
                </c:pt>
                <c:pt idx="71">
                  <c:v>39052</c:v>
                </c:pt>
                <c:pt idx="72">
                  <c:v>39083</c:v>
                </c:pt>
                <c:pt idx="73">
                  <c:v>39114</c:v>
                </c:pt>
                <c:pt idx="74">
                  <c:v>39142</c:v>
                </c:pt>
                <c:pt idx="75">
                  <c:v>39173</c:v>
                </c:pt>
                <c:pt idx="76">
                  <c:v>39203</c:v>
                </c:pt>
                <c:pt idx="77">
                  <c:v>39234</c:v>
                </c:pt>
                <c:pt idx="78">
                  <c:v>39264</c:v>
                </c:pt>
                <c:pt idx="79">
                  <c:v>39295</c:v>
                </c:pt>
                <c:pt idx="80">
                  <c:v>39326</c:v>
                </c:pt>
                <c:pt idx="81">
                  <c:v>39356</c:v>
                </c:pt>
                <c:pt idx="82">
                  <c:v>39387</c:v>
                </c:pt>
                <c:pt idx="83">
                  <c:v>39417</c:v>
                </c:pt>
                <c:pt idx="84">
                  <c:v>39448</c:v>
                </c:pt>
                <c:pt idx="85">
                  <c:v>39479</c:v>
                </c:pt>
                <c:pt idx="86">
                  <c:v>39508</c:v>
                </c:pt>
                <c:pt idx="87">
                  <c:v>39539</c:v>
                </c:pt>
                <c:pt idx="88">
                  <c:v>39569</c:v>
                </c:pt>
                <c:pt idx="89">
                  <c:v>39600</c:v>
                </c:pt>
                <c:pt idx="90">
                  <c:v>39630</c:v>
                </c:pt>
                <c:pt idx="91">
                  <c:v>39661</c:v>
                </c:pt>
                <c:pt idx="92">
                  <c:v>39692</c:v>
                </c:pt>
                <c:pt idx="93">
                  <c:v>39722</c:v>
                </c:pt>
                <c:pt idx="94">
                  <c:v>39753</c:v>
                </c:pt>
                <c:pt idx="95">
                  <c:v>39783</c:v>
                </c:pt>
                <c:pt idx="96">
                  <c:v>39814</c:v>
                </c:pt>
                <c:pt idx="97">
                  <c:v>39845</c:v>
                </c:pt>
                <c:pt idx="98">
                  <c:v>39873</c:v>
                </c:pt>
                <c:pt idx="99">
                  <c:v>39904</c:v>
                </c:pt>
                <c:pt idx="100">
                  <c:v>39934</c:v>
                </c:pt>
                <c:pt idx="101">
                  <c:v>39965</c:v>
                </c:pt>
                <c:pt idx="102">
                  <c:v>39995</c:v>
                </c:pt>
                <c:pt idx="103">
                  <c:v>40026</c:v>
                </c:pt>
                <c:pt idx="104">
                  <c:v>40057</c:v>
                </c:pt>
                <c:pt idx="105">
                  <c:v>40087</c:v>
                </c:pt>
                <c:pt idx="106">
                  <c:v>40118</c:v>
                </c:pt>
                <c:pt idx="107">
                  <c:v>40148</c:v>
                </c:pt>
                <c:pt idx="108">
                  <c:v>40179</c:v>
                </c:pt>
                <c:pt idx="109">
                  <c:v>40210</c:v>
                </c:pt>
                <c:pt idx="110">
                  <c:v>40238</c:v>
                </c:pt>
                <c:pt idx="111">
                  <c:v>40269</c:v>
                </c:pt>
                <c:pt idx="112">
                  <c:v>40299</c:v>
                </c:pt>
                <c:pt idx="113">
                  <c:v>40330</c:v>
                </c:pt>
                <c:pt idx="114">
                  <c:v>40360</c:v>
                </c:pt>
                <c:pt idx="115">
                  <c:v>40391</c:v>
                </c:pt>
                <c:pt idx="116">
                  <c:v>40422</c:v>
                </c:pt>
                <c:pt idx="117">
                  <c:v>40452</c:v>
                </c:pt>
                <c:pt idx="118">
                  <c:v>40483</c:v>
                </c:pt>
                <c:pt idx="119">
                  <c:v>40513</c:v>
                </c:pt>
                <c:pt idx="120">
                  <c:v>40544</c:v>
                </c:pt>
                <c:pt idx="121">
                  <c:v>40575</c:v>
                </c:pt>
                <c:pt idx="122">
                  <c:v>40603</c:v>
                </c:pt>
                <c:pt idx="123">
                  <c:v>40634</c:v>
                </c:pt>
                <c:pt idx="124">
                  <c:v>40664</c:v>
                </c:pt>
                <c:pt idx="125">
                  <c:v>40695</c:v>
                </c:pt>
                <c:pt idx="126">
                  <c:v>40725</c:v>
                </c:pt>
                <c:pt idx="127">
                  <c:v>40756</c:v>
                </c:pt>
                <c:pt idx="128">
                  <c:v>40787</c:v>
                </c:pt>
                <c:pt idx="129">
                  <c:v>40817</c:v>
                </c:pt>
                <c:pt idx="130">
                  <c:v>40848</c:v>
                </c:pt>
                <c:pt idx="131">
                  <c:v>40878</c:v>
                </c:pt>
                <c:pt idx="132">
                  <c:v>40909</c:v>
                </c:pt>
                <c:pt idx="133">
                  <c:v>40940</c:v>
                </c:pt>
                <c:pt idx="134">
                  <c:v>40969</c:v>
                </c:pt>
                <c:pt idx="135">
                  <c:v>41000</c:v>
                </c:pt>
                <c:pt idx="136">
                  <c:v>41030</c:v>
                </c:pt>
                <c:pt idx="137">
                  <c:v>41061</c:v>
                </c:pt>
                <c:pt idx="138">
                  <c:v>41091</c:v>
                </c:pt>
                <c:pt idx="139">
                  <c:v>41122</c:v>
                </c:pt>
                <c:pt idx="140">
                  <c:v>41153</c:v>
                </c:pt>
                <c:pt idx="141">
                  <c:v>41183</c:v>
                </c:pt>
                <c:pt idx="142">
                  <c:v>41214</c:v>
                </c:pt>
                <c:pt idx="143">
                  <c:v>41244</c:v>
                </c:pt>
                <c:pt idx="144">
                  <c:v>41275</c:v>
                </c:pt>
                <c:pt idx="145">
                  <c:v>41306</c:v>
                </c:pt>
                <c:pt idx="146">
                  <c:v>41334</c:v>
                </c:pt>
                <c:pt idx="147">
                  <c:v>41365</c:v>
                </c:pt>
                <c:pt idx="148">
                  <c:v>41395</c:v>
                </c:pt>
                <c:pt idx="149">
                  <c:v>41426</c:v>
                </c:pt>
                <c:pt idx="150">
                  <c:v>41456</c:v>
                </c:pt>
                <c:pt idx="151">
                  <c:v>41487</c:v>
                </c:pt>
                <c:pt idx="152">
                  <c:v>41518</c:v>
                </c:pt>
                <c:pt idx="153">
                  <c:v>41548</c:v>
                </c:pt>
                <c:pt idx="154">
                  <c:v>41579</c:v>
                </c:pt>
                <c:pt idx="155">
                  <c:v>41609</c:v>
                </c:pt>
                <c:pt idx="156">
                  <c:v>41640</c:v>
                </c:pt>
                <c:pt idx="157">
                  <c:v>41671</c:v>
                </c:pt>
                <c:pt idx="158">
                  <c:v>41699</c:v>
                </c:pt>
                <c:pt idx="159">
                  <c:v>41730</c:v>
                </c:pt>
                <c:pt idx="160">
                  <c:v>41760</c:v>
                </c:pt>
                <c:pt idx="161">
                  <c:v>41791</c:v>
                </c:pt>
                <c:pt idx="162">
                  <c:v>41821</c:v>
                </c:pt>
                <c:pt idx="163">
                  <c:v>41852</c:v>
                </c:pt>
                <c:pt idx="164">
                  <c:v>41883</c:v>
                </c:pt>
                <c:pt idx="165">
                  <c:v>41913</c:v>
                </c:pt>
                <c:pt idx="166">
                  <c:v>41944</c:v>
                </c:pt>
                <c:pt idx="167">
                  <c:v>41974</c:v>
                </c:pt>
                <c:pt idx="168">
                  <c:v>42005</c:v>
                </c:pt>
                <c:pt idx="169">
                  <c:v>42036</c:v>
                </c:pt>
                <c:pt idx="170">
                  <c:v>42064</c:v>
                </c:pt>
                <c:pt idx="171">
                  <c:v>42095</c:v>
                </c:pt>
                <c:pt idx="172">
                  <c:v>42125</c:v>
                </c:pt>
                <c:pt idx="173">
                  <c:v>42156</c:v>
                </c:pt>
                <c:pt idx="174">
                  <c:v>42186</c:v>
                </c:pt>
                <c:pt idx="175">
                  <c:v>42217</c:v>
                </c:pt>
                <c:pt idx="176">
                  <c:v>42248</c:v>
                </c:pt>
                <c:pt idx="177">
                  <c:v>42278</c:v>
                </c:pt>
                <c:pt idx="178">
                  <c:v>42309</c:v>
                </c:pt>
                <c:pt idx="179">
                  <c:v>42339</c:v>
                </c:pt>
                <c:pt idx="180">
                  <c:v>42370</c:v>
                </c:pt>
                <c:pt idx="181">
                  <c:v>42401</c:v>
                </c:pt>
                <c:pt idx="182">
                  <c:v>42430</c:v>
                </c:pt>
                <c:pt idx="183">
                  <c:v>42461</c:v>
                </c:pt>
                <c:pt idx="184">
                  <c:v>42491</c:v>
                </c:pt>
                <c:pt idx="185">
                  <c:v>42522</c:v>
                </c:pt>
                <c:pt idx="186">
                  <c:v>42552</c:v>
                </c:pt>
                <c:pt idx="187">
                  <c:v>42583</c:v>
                </c:pt>
                <c:pt idx="188">
                  <c:v>42614</c:v>
                </c:pt>
                <c:pt idx="189">
                  <c:v>42644</c:v>
                </c:pt>
                <c:pt idx="190">
                  <c:v>42675</c:v>
                </c:pt>
                <c:pt idx="191">
                  <c:v>42705</c:v>
                </c:pt>
                <c:pt idx="192">
                  <c:v>42736</c:v>
                </c:pt>
                <c:pt idx="193">
                  <c:v>42767</c:v>
                </c:pt>
                <c:pt idx="194">
                  <c:v>42795</c:v>
                </c:pt>
                <c:pt idx="195">
                  <c:v>42826</c:v>
                </c:pt>
                <c:pt idx="196">
                  <c:v>42856</c:v>
                </c:pt>
                <c:pt idx="197">
                  <c:v>42887</c:v>
                </c:pt>
                <c:pt idx="198">
                  <c:v>42917</c:v>
                </c:pt>
                <c:pt idx="199">
                  <c:v>42948</c:v>
                </c:pt>
                <c:pt idx="200">
                  <c:v>42979</c:v>
                </c:pt>
                <c:pt idx="201">
                  <c:v>43009</c:v>
                </c:pt>
                <c:pt idx="202">
                  <c:v>43040</c:v>
                </c:pt>
                <c:pt idx="203">
                  <c:v>43070</c:v>
                </c:pt>
                <c:pt idx="204">
                  <c:v>43101</c:v>
                </c:pt>
                <c:pt idx="205">
                  <c:v>43132</c:v>
                </c:pt>
                <c:pt idx="206">
                  <c:v>43160</c:v>
                </c:pt>
                <c:pt idx="207">
                  <c:v>43191</c:v>
                </c:pt>
                <c:pt idx="208">
                  <c:v>43221</c:v>
                </c:pt>
                <c:pt idx="209">
                  <c:v>43252</c:v>
                </c:pt>
                <c:pt idx="210">
                  <c:v>43282</c:v>
                </c:pt>
                <c:pt idx="211">
                  <c:v>43313</c:v>
                </c:pt>
                <c:pt idx="212">
                  <c:v>43344</c:v>
                </c:pt>
                <c:pt idx="213">
                  <c:v>43374</c:v>
                </c:pt>
                <c:pt idx="214">
                  <c:v>43405</c:v>
                </c:pt>
                <c:pt idx="215">
                  <c:v>43435</c:v>
                </c:pt>
                <c:pt idx="216">
                  <c:v>43466</c:v>
                </c:pt>
                <c:pt idx="217">
                  <c:v>43497</c:v>
                </c:pt>
                <c:pt idx="218">
                  <c:v>43525</c:v>
                </c:pt>
                <c:pt idx="219">
                  <c:v>43556</c:v>
                </c:pt>
                <c:pt idx="220">
                  <c:v>43586</c:v>
                </c:pt>
                <c:pt idx="221">
                  <c:v>43617</c:v>
                </c:pt>
                <c:pt idx="222">
                  <c:v>43647</c:v>
                </c:pt>
                <c:pt idx="223">
                  <c:v>43678</c:v>
                </c:pt>
                <c:pt idx="224">
                  <c:v>43709</c:v>
                </c:pt>
                <c:pt idx="225">
                  <c:v>43739</c:v>
                </c:pt>
                <c:pt idx="226">
                  <c:v>43770</c:v>
                </c:pt>
                <c:pt idx="227">
                  <c:v>43800</c:v>
                </c:pt>
                <c:pt idx="228">
                  <c:v>43831</c:v>
                </c:pt>
                <c:pt idx="229">
                  <c:v>43862</c:v>
                </c:pt>
                <c:pt idx="230">
                  <c:v>43891</c:v>
                </c:pt>
                <c:pt idx="231">
                  <c:v>43922</c:v>
                </c:pt>
                <c:pt idx="232">
                  <c:v>43952</c:v>
                </c:pt>
                <c:pt idx="233">
                  <c:v>43983</c:v>
                </c:pt>
                <c:pt idx="234">
                  <c:v>44013</c:v>
                </c:pt>
                <c:pt idx="235">
                  <c:v>44044</c:v>
                </c:pt>
                <c:pt idx="236">
                  <c:v>44075</c:v>
                </c:pt>
                <c:pt idx="237">
                  <c:v>44105</c:v>
                </c:pt>
                <c:pt idx="238">
                  <c:v>44136</c:v>
                </c:pt>
                <c:pt idx="239">
                  <c:v>44166</c:v>
                </c:pt>
                <c:pt idx="240">
                  <c:v>44197</c:v>
                </c:pt>
                <c:pt idx="241">
                  <c:v>44228</c:v>
                </c:pt>
                <c:pt idx="242">
                  <c:v>44256</c:v>
                </c:pt>
                <c:pt idx="243">
                  <c:v>44287</c:v>
                </c:pt>
                <c:pt idx="244">
                  <c:v>44317</c:v>
                </c:pt>
                <c:pt idx="245">
                  <c:v>44348</c:v>
                </c:pt>
                <c:pt idx="246">
                  <c:v>44378</c:v>
                </c:pt>
                <c:pt idx="247">
                  <c:v>44409</c:v>
                </c:pt>
                <c:pt idx="248">
                  <c:v>44440</c:v>
                </c:pt>
                <c:pt idx="249">
                  <c:v>44470</c:v>
                </c:pt>
                <c:pt idx="250">
                  <c:v>44501</c:v>
                </c:pt>
                <c:pt idx="251">
                  <c:v>44531</c:v>
                </c:pt>
                <c:pt idx="252">
                  <c:v>44562</c:v>
                </c:pt>
                <c:pt idx="253">
                  <c:v>44593</c:v>
                </c:pt>
                <c:pt idx="254">
                  <c:v>44621</c:v>
                </c:pt>
                <c:pt idx="255">
                  <c:v>44652</c:v>
                </c:pt>
                <c:pt idx="256">
                  <c:v>44682</c:v>
                </c:pt>
                <c:pt idx="257">
                  <c:v>44713</c:v>
                </c:pt>
                <c:pt idx="258">
                  <c:v>44743</c:v>
                </c:pt>
                <c:pt idx="259">
                  <c:v>44774</c:v>
                </c:pt>
                <c:pt idx="260">
                  <c:v>44805</c:v>
                </c:pt>
                <c:pt idx="261">
                  <c:v>44835</c:v>
                </c:pt>
                <c:pt idx="262">
                  <c:v>44866</c:v>
                </c:pt>
                <c:pt idx="263">
                  <c:v>44896</c:v>
                </c:pt>
                <c:pt idx="264">
                  <c:v>44927</c:v>
                </c:pt>
                <c:pt idx="265">
                  <c:v>44958</c:v>
                </c:pt>
                <c:pt idx="266">
                  <c:v>44986</c:v>
                </c:pt>
                <c:pt idx="267">
                  <c:v>45017</c:v>
                </c:pt>
                <c:pt idx="268">
                  <c:v>45047</c:v>
                </c:pt>
                <c:pt idx="269">
                  <c:v>45078</c:v>
                </c:pt>
                <c:pt idx="270">
                  <c:v>45108</c:v>
                </c:pt>
                <c:pt idx="271">
                  <c:v>45139</c:v>
                </c:pt>
                <c:pt idx="272">
                  <c:v>45170</c:v>
                </c:pt>
                <c:pt idx="273">
                  <c:v>45200</c:v>
                </c:pt>
                <c:pt idx="274">
                  <c:v>45231</c:v>
                </c:pt>
                <c:pt idx="275">
                  <c:v>45261</c:v>
                </c:pt>
                <c:pt idx="276">
                  <c:v>45292</c:v>
                </c:pt>
                <c:pt idx="277">
                  <c:v>45323</c:v>
                </c:pt>
                <c:pt idx="278">
                  <c:v>45352</c:v>
                </c:pt>
                <c:pt idx="279">
                  <c:v>45383</c:v>
                </c:pt>
                <c:pt idx="280">
                  <c:v>45413</c:v>
                </c:pt>
                <c:pt idx="281">
                  <c:v>45444</c:v>
                </c:pt>
                <c:pt idx="282">
                  <c:v>45474</c:v>
                </c:pt>
                <c:pt idx="283">
                  <c:v>45505</c:v>
                </c:pt>
                <c:pt idx="284">
                  <c:v>45536</c:v>
                </c:pt>
                <c:pt idx="285">
                  <c:v>45566</c:v>
                </c:pt>
                <c:pt idx="286">
                  <c:v>45597</c:v>
                </c:pt>
                <c:pt idx="287">
                  <c:v>45627</c:v>
                </c:pt>
              </c:numCache>
            </c:numRef>
          </c:cat>
          <c:val>
            <c:numRef>
              <c:f>Taul1!$I$137:$I$424</c:f>
              <c:numCache>
                <c:formatCode>General</c:formatCode>
                <c:ptCount val="288"/>
                <c:pt idx="3">
                  <c:v>4.0070119796951502</c:v>
                </c:pt>
                <c:pt idx="4">
                  <c:v>8.4151809811388034E-2</c:v>
                </c:pt>
                <c:pt idx="5">
                  <c:v>-1.3862107218152602</c:v>
                </c:pt>
                <c:pt idx="6">
                  <c:v>1.4330651755622767</c:v>
                </c:pt>
                <c:pt idx="7">
                  <c:v>-0.2776886365077047</c:v>
                </c:pt>
                <c:pt idx="8">
                  <c:v>-2.3975262663304591</c:v>
                </c:pt>
                <c:pt idx="9">
                  <c:v>-0.8611117950295295</c:v>
                </c:pt>
                <c:pt idx="10">
                  <c:v>-6.1974591036146478</c:v>
                </c:pt>
                <c:pt idx="11">
                  <c:v>-6.5017371633460499</c:v>
                </c:pt>
                <c:pt idx="12">
                  <c:v>-5.1735739170452035</c:v>
                </c:pt>
                <c:pt idx="13">
                  <c:v>-7.0933723345255544</c:v>
                </c:pt>
                <c:pt idx="14">
                  <c:v>-6.6485269037329431</c:v>
                </c:pt>
                <c:pt idx="15">
                  <c:v>-6.428747914469426</c:v>
                </c:pt>
                <c:pt idx="16">
                  <c:v>-5.7314152651096606</c:v>
                </c:pt>
                <c:pt idx="17">
                  <c:v>-4.9317983284933575</c:v>
                </c:pt>
                <c:pt idx="18">
                  <c:v>-5.2655905861231105</c:v>
                </c:pt>
                <c:pt idx="19">
                  <c:v>-6.2739350699928025</c:v>
                </c:pt>
                <c:pt idx="20">
                  <c:v>-6.5652858222054533</c:v>
                </c:pt>
                <c:pt idx="21">
                  <c:v>-6.3862751169404817</c:v>
                </c:pt>
                <c:pt idx="22">
                  <c:v>-4.5015375431297713</c:v>
                </c:pt>
                <c:pt idx="23">
                  <c:v>-1.5906059323795461</c:v>
                </c:pt>
                <c:pt idx="24">
                  <c:v>-1.8751537776638827</c:v>
                </c:pt>
                <c:pt idx="25">
                  <c:v>0.60672803744112969</c:v>
                </c:pt>
                <c:pt idx="26">
                  <c:v>-1.0897437116851734</c:v>
                </c:pt>
                <c:pt idx="27">
                  <c:v>-1.0466010274018913</c:v>
                </c:pt>
                <c:pt idx="28">
                  <c:v>-1.8993592615523909</c:v>
                </c:pt>
                <c:pt idx="29">
                  <c:v>-1.1662808300837497</c:v>
                </c:pt>
                <c:pt idx="30">
                  <c:v>-5.055973197378492</c:v>
                </c:pt>
                <c:pt idx="31">
                  <c:v>-5.4396136801142347</c:v>
                </c:pt>
                <c:pt idx="32">
                  <c:v>-4.2713845343669448</c:v>
                </c:pt>
                <c:pt idx="33">
                  <c:v>-3.178037671430701</c:v>
                </c:pt>
                <c:pt idx="34">
                  <c:v>-2.4256470748670722</c:v>
                </c:pt>
                <c:pt idx="35">
                  <c:v>-3.9016690026823539</c:v>
                </c:pt>
                <c:pt idx="36">
                  <c:v>-4.1371011135785949</c:v>
                </c:pt>
                <c:pt idx="37">
                  <c:v>-3.1150371328636481</c:v>
                </c:pt>
                <c:pt idx="38">
                  <c:v>2.321012703142685</c:v>
                </c:pt>
                <c:pt idx="39">
                  <c:v>2.2218049535861297</c:v>
                </c:pt>
                <c:pt idx="40">
                  <c:v>2.6254444383674809</c:v>
                </c:pt>
                <c:pt idx="41">
                  <c:v>2.528283683098806</c:v>
                </c:pt>
                <c:pt idx="42">
                  <c:v>4.7935802999792116</c:v>
                </c:pt>
                <c:pt idx="43">
                  <c:v>6.9736692906824089</c:v>
                </c:pt>
                <c:pt idx="44">
                  <c:v>9.9079917502000967</c:v>
                </c:pt>
                <c:pt idx="45">
                  <c:v>7.2781717364664473</c:v>
                </c:pt>
                <c:pt idx="46">
                  <c:v>6.4717942150732881</c:v>
                </c:pt>
                <c:pt idx="47">
                  <c:v>7.5239084243160335</c:v>
                </c:pt>
                <c:pt idx="48">
                  <c:v>6.3548028209432914</c:v>
                </c:pt>
                <c:pt idx="49">
                  <c:v>4.6751194994310055</c:v>
                </c:pt>
                <c:pt idx="50">
                  <c:v>1.006432596618609</c:v>
                </c:pt>
                <c:pt idx="51">
                  <c:v>5.9260470078116896</c:v>
                </c:pt>
                <c:pt idx="52">
                  <c:v>9.4383519902458346</c:v>
                </c:pt>
                <c:pt idx="53">
                  <c:v>10.121193274289226</c:v>
                </c:pt>
                <c:pt idx="54">
                  <c:v>9.9974057704832546</c:v>
                </c:pt>
                <c:pt idx="55">
                  <c:v>12.414800640668773</c:v>
                </c:pt>
                <c:pt idx="56">
                  <c:v>7.8464618137791291</c:v>
                </c:pt>
                <c:pt idx="57">
                  <c:v>9.0587092550403696</c:v>
                </c:pt>
                <c:pt idx="58">
                  <c:v>11.137842053317897</c:v>
                </c:pt>
                <c:pt idx="59">
                  <c:v>9.5873948968600899</c:v>
                </c:pt>
                <c:pt idx="60">
                  <c:v>11.454144246457076</c:v>
                </c:pt>
                <c:pt idx="61">
                  <c:v>11.904517916851901</c:v>
                </c:pt>
                <c:pt idx="62">
                  <c:v>10.321763216154949</c:v>
                </c:pt>
                <c:pt idx="63">
                  <c:v>2.6935754654594746</c:v>
                </c:pt>
                <c:pt idx="64">
                  <c:v>2.2929168495853958</c:v>
                </c:pt>
                <c:pt idx="65">
                  <c:v>1.8247632267376588</c:v>
                </c:pt>
                <c:pt idx="66">
                  <c:v>-4.8873745682769254E-2</c:v>
                </c:pt>
                <c:pt idx="67">
                  <c:v>-4.2070860878576042</c:v>
                </c:pt>
                <c:pt idx="68">
                  <c:v>-1.3511409390697651</c:v>
                </c:pt>
                <c:pt idx="69">
                  <c:v>-1.3226215070790914</c:v>
                </c:pt>
                <c:pt idx="70">
                  <c:v>-0.42440739336171873</c:v>
                </c:pt>
                <c:pt idx="71">
                  <c:v>2.3416460826935861</c:v>
                </c:pt>
                <c:pt idx="72">
                  <c:v>3.7404670901083819</c:v>
                </c:pt>
                <c:pt idx="73">
                  <c:v>6.0643038025011577</c:v>
                </c:pt>
                <c:pt idx="74">
                  <c:v>9.2776325417800933</c:v>
                </c:pt>
                <c:pt idx="75">
                  <c:v>13.386603922558436</c:v>
                </c:pt>
                <c:pt idx="76">
                  <c:v>10.568906408912923</c:v>
                </c:pt>
                <c:pt idx="77">
                  <c:v>12.905941541200818</c:v>
                </c:pt>
                <c:pt idx="78">
                  <c:v>18.098737892254107</c:v>
                </c:pt>
                <c:pt idx="79">
                  <c:v>22.912393775809178</c:v>
                </c:pt>
                <c:pt idx="80">
                  <c:v>22.118997375439648</c:v>
                </c:pt>
                <c:pt idx="81">
                  <c:v>22.255491527777764</c:v>
                </c:pt>
                <c:pt idx="82">
                  <c:v>19.583769669897876</c:v>
                </c:pt>
                <c:pt idx="83">
                  <c:v>15.364064268930605</c:v>
                </c:pt>
                <c:pt idx="84">
                  <c:v>14.851325638422665</c:v>
                </c:pt>
                <c:pt idx="85">
                  <c:v>11.377844009854314</c:v>
                </c:pt>
                <c:pt idx="86">
                  <c:v>9.5111202362231779</c:v>
                </c:pt>
                <c:pt idx="87">
                  <c:v>8.3391154547537383</c:v>
                </c:pt>
                <c:pt idx="88">
                  <c:v>8.4552378630088754</c:v>
                </c:pt>
                <c:pt idx="89">
                  <c:v>3.0429349401681662</c:v>
                </c:pt>
                <c:pt idx="90">
                  <c:v>0.43702597242732111</c:v>
                </c:pt>
                <c:pt idx="91">
                  <c:v>-5.667214785693659</c:v>
                </c:pt>
                <c:pt idx="92">
                  <c:v>-9.3270280090492435</c:v>
                </c:pt>
                <c:pt idx="93">
                  <c:v>-10.445955371381245</c:v>
                </c:pt>
                <c:pt idx="94">
                  <c:v>-12.735617944400829</c:v>
                </c:pt>
                <c:pt idx="95">
                  <c:v>-12.461101825475296</c:v>
                </c:pt>
                <c:pt idx="96">
                  <c:v>-15.883283010408917</c:v>
                </c:pt>
                <c:pt idx="97">
                  <c:v>-16.304581006348016</c:v>
                </c:pt>
                <c:pt idx="98">
                  <c:v>-15.08434754371433</c:v>
                </c:pt>
                <c:pt idx="99">
                  <c:v>-17.257358893209656</c:v>
                </c:pt>
                <c:pt idx="100">
                  <c:v>-18.944043160778975</c:v>
                </c:pt>
                <c:pt idx="101">
                  <c:v>-17.783529840701419</c:v>
                </c:pt>
                <c:pt idx="102">
                  <c:v>-20.169859319458666</c:v>
                </c:pt>
                <c:pt idx="103">
                  <c:v>-19.569348109245325</c:v>
                </c:pt>
                <c:pt idx="104">
                  <c:v>-19.930135717307834</c:v>
                </c:pt>
                <c:pt idx="105">
                  <c:v>-20.201520645736565</c:v>
                </c:pt>
                <c:pt idx="106">
                  <c:v>-19.779974956544237</c:v>
                </c:pt>
                <c:pt idx="107">
                  <c:v>-18.415933482795339</c:v>
                </c:pt>
                <c:pt idx="108">
                  <c:v>-16.577240824031378</c:v>
                </c:pt>
                <c:pt idx="109">
                  <c:v>-12.237703431866436</c:v>
                </c:pt>
                <c:pt idx="110">
                  <c:v>-12.903863193471238</c:v>
                </c:pt>
                <c:pt idx="111">
                  <c:v>-9.0344614721109053</c:v>
                </c:pt>
                <c:pt idx="112">
                  <c:v>-5.6282727229242369</c:v>
                </c:pt>
                <c:pt idx="113">
                  <c:v>-3.3024797023776102</c:v>
                </c:pt>
                <c:pt idx="114">
                  <c:v>-2.1667491568694714</c:v>
                </c:pt>
                <c:pt idx="115">
                  <c:v>2.3303148304962207</c:v>
                </c:pt>
                <c:pt idx="116">
                  <c:v>6.3188367234617147</c:v>
                </c:pt>
                <c:pt idx="117">
                  <c:v>8.3778624410956013</c:v>
                </c:pt>
                <c:pt idx="118">
                  <c:v>11.90097005401627</c:v>
                </c:pt>
                <c:pt idx="119">
                  <c:v>8.526621877098421</c:v>
                </c:pt>
                <c:pt idx="120">
                  <c:v>8.6116038628304636</c:v>
                </c:pt>
                <c:pt idx="121">
                  <c:v>2.4529061483771244</c:v>
                </c:pt>
                <c:pt idx="122">
                  <c:v>-1.2578682499069629</c:v>
                </c:pt>
                <c:pt idx="123">
                  <c:v>-3.9741823584720493</c:v>
                </c:pt>
                <c:pt idx="124">
                  <c:v>-4.0928005435777948</c:v>
                </c:pt>
                <c:pt idx="125">
                  <c:v>-5.1734269707346385</c:v>
                </c:pt>
                <c:pt idx="126">
                  <c:v>-1.6815012201409729</c:v>
                </c:pt>
                <c:pt idx="127">
                  <c:v>-2.379533925384834</c:v>
                </c:pt>
                <c:pt idx="128">
                  <c:v>3.5879143799418358</c:v>
                </c:pt>
                <c:pt idx="129">
                  <c:v>2.6103109135283944</c:v>
                </c:pt>
                <c:pt idx="130">
                  <c:v>2.8632097084536241</c:v>
                </c:pt>
                <c:pt idx="131">
                  <c:v>6.1744308029388009</c:v>
                </c:pt>
                <c:pt idx="132">
                  <c:v>6.0095008269700969</c:v>
                </c:pt>
                <c:pt idx="133">
                  <c:v>6.7905323014492751</c:v>
                </c:pt>
                <c:pt idx="134">
                  <c:v>9.2861098555486308</c:v>
                </c:pt>
                <c:pt idx="135">
                  <c:v>9.4420724334280948</c:v>
                </c:pt>
                <c:pt idx="136">
                  <c:v>6.4913658627774709</c:v>
                </c:pt>
                <c:pt idx="137">
                  <c:v>4.8187909107350748</c:v>
                </c:pt>
                <c:pt idx="138">
                  <c:v>0.94862229499108253</c:v>
                </c:pt>
                <c:pt idx="139">
                  <c:v>-2.2813224356024477</c:v>
                </c:pt>
                <c:pt idx="140">
                  <c:v>-12.160409021662417</c:v>
                </c:pt>
                <c:pt idx="141">
                  <c:v>-11.319447936948137</c:v>
                </c:pt>
                <c:pt idx="142">
                  <c:v>-13.590851891528587</c:v>
                </c:pt>
                <c:pt idx="143">
                  <c:v>-13.813683403123733</c:v>
                </c:pt>
                <c:pt idx="144">
                  <c:v>-12.115099597284271</c:v>
                </c:pt>
                <c:pt idx="145">
                  <c:v>-11.238723643073186</c:v>
                </c:pt>
                <c:pt idx="146">
                  <c:v>-11.152098548815772</c:v>
                </c:pt>
                <c:pt idx="147">
                  <c:v>-10.089677615067316</c:v>
                </c:pt>
                <c:pt idx="148">
                  <c:v>-8.2833179447578686</c:v>
                </c:pt>
                <c:pt idx="149">
                  <c:v>-8.5607755016663134</c:v>
                </c:pt>
                <c:pt idx="150">
                  <c:v>-3.8287231239994384</c:v>
                </c:pt>
                <c:pt idx="151">
                  <c:v>-1.3166774352937693</c:v>
                </c:pt>
                <c:pt idx="152">
                  <c:v>-0.89295639256972947</c:v>
                </c:pt>
                <c:pt idx="153">
                  <c:v>-0.92272768762944679</c:v>
                </c:pt>
                <c:pt idx="154">
                  <c:v>-1.9161290083752647</c:v>
                </c:pt>
                <c:pt idx="155">
                  <c:v>-6.3519482453618679</c:v>
                </c:pt>
                <c:pt idx="156">
                  <c:v>-9.5719514227155571</c:v>
                </c:pt>
                <c:pt idx="157">
                  <c:v>-7.8455206000795528</c:v>
                </c:pt>
                <c:pt idx="158">
                  <c:v>-4.2866716825909918</c:v>
                </c:pt>
                <c:pt idx="159">
                  <c:v>-4.6781905904036165</c:v>
                </c:pt>
                <c:pt idx="160">
                  <c:v>-6.0777355663994399</c:v>
                </c:pt>
                <c:pt idx="161">
                  <c:v>-3.1621146458724212</c:v>
                </c:pt>
                <c:pt idx="162">
                  <c:v>-5.2506903299146614</c:v>
                </c:pt>
                <c:pt idx="163">
                  <c:v>-6.8808481781388195</c:v>
                </c:pt>
                <c:pt idx="164">
                  <c:v>-4.2095936617313043</c:v>
                </c:pt>
                <c:pt idx="165">
                  <c:v>-7.2710109393635491</c:v>
                </c:pt>
                <c:pt idx="166">
                  <c:v>-5.5529222332978492</c:v>
                </c:pt>
                <c:pt idx="167">
                  <c:v>-1.5924510597685497</c:v>
                </c:pt>
                <c:pt idx="168">
                  <c:v>0.61734501727559632</c:v>
                </c:pt>
                <c:pt idx="169">
                  <c:v>-4.255168632581686</c:v>
                </c:pt>
                <c:pt idx="170">
                  <c:v>-9.1774584743043164</c:v>
                </c:pt>
                <c:pt idx="171">
                  <c:v>-10.558606355666015</c:v>
                </c:pt>
                <c:pt idx="172">
                  <c:v>-9.4411716303026765</c:v>
                </c:pt>
                <c:pt idx="173">
                  <c:v>-5.0754092612118313</c:v>
                </c:pt>
                <c:pt idx="174">
                  <c:v>-11.403280762315717</c:v>
                </c:pt>
                <c:pt idx="175">
                  <c:v>-12.262135258325529</c:v>
                </c:pt>
                <c:pt idx="176">
                  <c:v>-9.7041845802521323</c:v>
                </c:pt>
                <c:pt idx="177">
                  <c:v>-5.285163063699855</c:v>
                </c:pt>
                <c:pt idx="178">
                  <c:v>-2.4262509652537574</c:v>
                </c:pt>
                <c:pt idx="179">
                  <c:v>1.110200999608125</c:v>
                </c:pt>
                <c:pt idx="180">
                  <c:v>-1.4258868505411044</c:v>
                </c:pt>
                <c:pt idx="181">
                  <c:v>4.5984037436659406</c:v>
                </c:pt>
                <c:pt idx="182">
                  <c:v>6.9290260178546959</c:v>
                </c:pt>
                <c:pt idx="183">
                  <c:v>10.277692027758278</c:v>
                </c:pt>
                <c:pt idx="184">
                  <c:v>13.247970781375244</c:v>
                </c:pt>
                <c:pt idx="185">
                  <c:v>1.3725478745849102</c:v>
                </c:pt>
                <c:pt idx="186">
                  <c:v>12.228738897773226</c:v>
                </c:pt>
                <c:pt idx="187">
                  <c:v>21.48361090054334</c:v>
                </c:pt>
                <c:pt idx="188">
                  <c:v>18.715333841249844</c:v>
                </c:pt>
                <c:pt idx="189">
                  <c:v>15.373441245206095</c:v>
                </c:pt>
                <c:pt idx="190">
                  <c:v>10.517131269436902</c:v>
                </c:pt>
                <c:pt idx="191">
                  <c:v>2.7221025334527269</c:v>
                </c:pt>
                <c:pt idx="192">
                  <c:v>8.9855950786044616</c:v>
                </c:pt>
                <c:pt idx="193">
                  <c:v>9.3715013337463375</c:v>
                </c:pt>
                <c:pt idx="194">
                  <c:v>10.258984028423242</c:v>
                </c:pt>
                <c:pt idx="195">
                  <c:v>9.6695132220161639</c:v>
                </c:pt>
                <c:pt idx="196">
                  <c:v>7.3596877863159875</c:v>
                </c:pt>
                <c:pt idx="197">
                  <c:v>14.948735367134816</c:v>
                </c:pt>
                <c:pt idx="198">
                  <c:v>10.737750715200775</c:v>
                </c:pt>
                <c:pt idx="199">
                  <c:v>5.1374238285405056</c:v>
                </c:pt>
                <c:pt idx="200">
                  <c:v>5.4862053674787745</c:v>
                </c:pt>
                <c:pt idx="201">
                  <c:v>4.7703139426951537</c:v>
                </c:pt>
                <c:pt idx="202">
                  <c:v>7.4739146042552136</c:v>
                </c:pt>
                <c:pt idx="203">
                  <c:v>13.627913020896315</c:v>
                </c:pt>
                <c:pt idx="204">
                  <c:v>8.4518207949387119</c:v>
                </c:pt>
                <c:pt idx="205">
                  <c:v>4.5471004130858859</c:v>
                </c:pt>
                <c:pt idx="206">
                  <c:v>3.8952589918524581</c:v>
                </c:pt>
                <c:pt idx="207">
                  <c:v>3.2346603548611057</c:v>
                </c:pt>
                <c:pt idx="208">
                  <c:v>2.6405281051490022</c:v>
                </c:pt>
                <c:pt idx="209">
                  <c:v>-0.76560167433009951</c:v>
                </c:pt>
                <c:pt idx="210">
                  <c:v>7.5296760297902665E-3</c:v>
                </c:pt>
                <c:pt idx="211">
                  <c:v>-1.0581741021613453</c:v>
                </c:pt>
                <c:pt idx="212">
                  <c:v>0.13636439903859809</c:v>
                </c:pt>
                <c:pt idx="213">
                  <c:v>3.4229063527128574</c:v>
                </c:pt>
                <c:pt idx="214">
                  <c:v>2.5676647090142666</c:v>
                </c:pt>
                <c:pt idx="215">
                  <c:v>-2.0210512524986513</c:v>
                </c:pt>
                <c:pt idx="216">
                  <c:v>-0.69279447734908217</c:v>
                </c:pt>
                <c:pt idx="217">
                  <c:v>-0.70066832271439239</c:v>
                </c:pt>
                <c:pt idx="218">
                  <c:v>9.6935336110419712E-3</c:v>
                </c:pt>
                <c:pt idx="219">
                  <c:v>2.1265219097098793</c:v>
                </c:pt>
                <c:pt idx="220">
                  <c:v>1.2009822863637822</c:v>
                </c:pt>
                <c:pt idx="221">
                  <c:v>2.9980476095052637</c:v>
                </c:pt>
                <c:pt idx="222">
                  <c:v>4.9463153977953311E-2</c:v>
                </c:pt>
                <c:pt idx="223">
                  <c:v>0.82350795331731774</c:v>
                </c:pt>
                <c:pt idx="224">
                  <c:v>2.2059813908647357</c:v>
                </c:pt>
                <c:pt idx="225">
                  <c:v>0.38272400608954626</c:v>
                </c:pt>
                <c:pt idx="226">
                  <c:v>0.93943931814020232</c:v>
                </c:pt>
                <c:pt idx="227">
                  <c:v>6.8868381743122882</c:v>
                </c:pt>
                <c:pt idx="228">
                  <c:v>5.8050572884875891</c:v>
                </c:pt>
                <c:pt idx="229">
                  <c:v>7.9105086808151697</c:v>
                </c:pt>
                <c:pt idx="230">
                  <c:v>4.8595269811307418</c:v>
                </c:pt>
                <c:pt idx="231">
                  <c:v>-0.27111326023148763</c:v>
                </c:pt>
                <c:pt idx="232">
                  <c:v>0.39340446149374486</c:v>
                </c:pt>
                <c:pt idx="233">
                  <c:v>1.2037208711929424</c:v>
                </c:pt>
                <c:pt idx="234">
                  <c:v>3.0623387402691549</c:v>
                </c:pt>
                <c:pt idx="235">
                  <c:v>-1.135507134599905</c:v>
                </c:pt>
                <c:pt idx="236">
                  <c:v>-6.6273875584158048</c:v>
                </c:pt>
                <c:pt idx="237">
                  <c:v>-6.7976098220405987</c:v>
                </c:pt>
                <c:pt idx="238">
                  <c:v>-8.5680111478779111</c:v>
                </c:pt>
                <c:pt idx="239">
                  <c:v>-11.971351569786407</c:v>
                </c:pt>
                <c:pt idx="240">
                  <c:v>-9.4651269440339263</c:v>
                </c:pt>
                <c:pt idx="241">
                  <c:v>-12.386647943859856</c:v>
                </c:pt>
                <c:pt idx="242">
                  <c:v>-8.9858300047577444</c:v>
                </c:pt>
                <c:pt idx="243">
                  <c:v>-5.7966464652072318</c:v>
                </c:pt>
                <c:pt idx="244">
                  <c:v>-4.9606637752966947</c:v>
                </c:pt>
                <c:pt idx="245">
                  <c:v>-3.3537253530510895</c:v>
                </c:pt>
                <c:pt idx="246">
                  <c:v>-2.2834228808867891</c:v>
                </c:pt>
                <c:pt idx="247">
                  <c:v>6.2471845570611748</c:v>
                </c:pt>
                <c:pt idx="248">
                  <c:v>9.9788738254488862</c:v>
                </c:pt>
                <c:pt idx="249">
                  <c:v>10.219120313479337</c:v>
                </c:pt>
                <c:pt idx="250">
                  <c:v>10.688917920520822</c:v>
                </c:pt>
                <c:pt idx="251">
                  <c:v>10.724423862087335</c:v>
                </c:pt>
                <c:pt idx="252">
                  <c:v>9.4149814646383732</c:v>
                </c:pt>
                <c:pt idx="253">
                  <c:v>11.798148773058742</c:v>
                </c:pt>
                <c:pt idx="254">
                  <c:v>9.1585622624982221</c:v>
                </c:pt>
                <c:pt idx="255">
                  <c:v>7.1898813954877738</c:v>
                </c:pt>
                <c:pt idx="256">
                  <c:v>8.1621557363412904</c:v>
                </c:pt>
                <c:pt idx="257">
                  <c:v>3.7692116442518824</c:v>
                </c:pt>
                <c:pt idx="258">
                  <c:v>-0.49090652360936815</c:v>
                </c:pt>
                <c:pt idx="259">
                  <c:v>-7.5604391152381822</c:v>
                </c:pt>
                <c:pt idx="260">
                  <c:v>-10.591652210689276</c:v>
                </c:pt>
                <c:pt idx="261">
                  <c:v>-12.662768719736391</c:v>
                </c:pt>
                <c:pt idx="262">
                  <c:v>-7.0337754653481852</c:v>
                </c:pt>
                <c:pt idx="263">
                  <c:v>-8.3811408437521919</c:v>
                </c:pt>
                <c:pt idx="264">
                  <c:v>-13.741462233081307</c:v>
                </c:pt>
                <c:pt idx="265">
                  <c:v>-14.27285686168743</c:v>
                </c:pt>
                <c:pt idx="266">
                  <c:v>-15.407069110368738</c:v>
                </c:pt>
                <c:pt idx="267">
                  <c:v>-14.161603976878425</c:v>
                </c:pt>
                <c:pt idx="268">
                  <c:v>-18.723210602846692</c:v>
                </c:pt>
                <c:pt idx="269">
                  <c:v>-19.34306177551241</c:v>
                </c:pt>
                <c:pt idx="270">
                  <c:v>-20.558509795847257</c:v>
                </c:pt>
                <c:pt idx="271">
                  <c:v>-20.000559956631406</c:v>
                </c:pt>
                <c:pt idx="272">
                  <c:v>-16.69164727762697</c:v>
                </c:pt>
                <c:pt idx="273">
                  <c:v>-15.595053530373548</c:v>
                </c:pt>
                <c:pt idx="274">
                  <c:v>-27.056432017730998</c:v>
                </c:pt>
                <c:pt idx="275">
                  <c:v>-25.117646443922851</c:v>
                </c:pt>
                <c:pt idx="276">
                  <c:v>-22.261386398571986</c:v>
                </c:pt>
                <c:pt idx="277">
                  <c:v>-23.68409408112926</c:v>
                </c:pt>
                <c:pt idx="278">
                  <c:v>-24.6490735497783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894-41A2-8B0C-57F046B78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15136016"/>
        <c:axId val="877932240"/>
      </c:lineChart>
      <c:dateAx>
        <c:axId val="915136016"/>
        <c:scaling>
          <c:orientation val="minMax"/>
          <c:max val="45627"/>
        </c:scaling>
        <c:delete val="0"/>
        <c:axPos val="b"/>
        <c:numFmt formatCode="yy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877932240"/>
        <c:crosses val="autoZero"/>
        <c:auto val="1"/>
        <c:lblOffset val="100"/>
        <c:baseTimeUnit val="months"/>
        <c:majorUnit val="12"/>
        <c:majorTimeUnit val="months"/>
      </c:dateAx>
      <c:valAx>
        <c:axId val="877932240"/>
        <c:scaling>
          <c:orientation val="minMax"/>
          <c:min val="-3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915136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2779987553102254E-2"/>
          <c:y val="0.94193613422788725"/>
          <c:w val="0.88360382787203151"/>
          <c:h val="5.80638657721127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i-FI" sz="1400" b="1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Suomessa asuntojen hintakehitys on olematon </a:t>
            </a:r>
            <a:r>
              <a:rPr lang="fi-FI" sz="1200" baseline="0" dirty="0"/>
              <a:t>Asuntojen hinnat pohjoismaissa (indeksi 2005=100</a:t>
            </a:r>
            <a:r>
              <a:rPr lang="fi-FI" baseline="0" dirty="0"/>
              <a:t>)</a:t>
            </a:r>
            <a:r>
              <a:rPr lang="fi-FI" dirty="0"/>
              <a:t> </a:t>
            </a:r>
          </a:p>
        </c:rich>
      </c:tx>
      <c:layout>
        <c:manualLayout>
          <c:xMode val="edge"/>
          <c:yMode val="edge"/>
          <c:x val="6.916145791054472E-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6.0919988094271724E-2"/>
          <c:y val="0.13713242459201846"/>
          <c:w val="0.90852450144762831"/>
          <c:h val="0.73775831363896016"/>
        </c:manualLayout>
      </c:layout>
      <c:lineChart>
        <c:grouping val="standard"/>
        <c:varyColors val="0"/>
        <c:ser>
          <c:idx val="0"/>
          <c:order val="0"/>
          <c:tx>
            <c:strRef>
              <c:f>kuvio!$K$2</c:f>
              <c:strCache>
                <c:ptCount val="1"/>
                <c:pt idx="0">
                  <c:v>Suom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kuvio!$J$3:$J$78</c:f>
              <c:numCache>
                <c:formatCode>m/d/yyyy</c:formatCode>
                <c:ptCount val="76"/>
                <c:pt idx="0">
                  <c:v>38353</c:v>
                </c:pt>
                <c:pt idx="1">
                  <c:v>38443</c:v>
                </c:pt>
                <c:pt idx="2">
                  <c:v>38534</c:v>
                </c:pt>
                <c:pt idx="3">
                  <c:v>38626</c:v>
                </c:pt>
                <c:pt idx="4">
                  <c:v>38718</c:v>
                </c:pt>
                <c:pt idx="5">
                  <c:v>38808</c:v>
                </c:pt>
                <c:pt idx="6">
                  <c:v>38899</c:v>
                </c:pt>
                <c:pt idx="7">
                  <c:v>38991</c:v>
                </c:pt>
                <c:pt idx="8">
                  <c:v>39083</c:v>
                </c:pt>
                <c:pt idx="9">
                  <c:v>39173</c:v>
                </c:pt>
                <c:pt idx="10">
                  <c:v>39264</c:v>
                </c:pt>
                <c:pt idx="11">
                  <c:v>39356</c:v>
                </c:pt>
                <c:pt idx="12">
                  <c:v>39448</c:v>
                </c:pt>
                <c:pt idx="13">
                  <c:v>39539</c:v>
                </c:pt>
                <c:pt idx="14">
                  <c:v>39630</c:v>
                </c:pt>
                <c:pt idx="15">
                  <c:v>39722</c:v>
                </c:pt>
                <c:pt idx="16">
                  <c:v>39814</c:v>
                </c:pt>
                <c:pt idx="17">
                  <c:v>39904</c:v>
                </c:pt>
                <c:pt idx="18">
                  <c:v>39995</c:v>
                </c:pt>
                <c:pt idx="19">
                  <c:v>40087</c:v>
                </c:pt>
                <c:pt idx="20">
                  <c:v>40179</c:v>
                </c:pt>
                <c:pt idx="21">
                  <c:v>40269</c:v>
                </c:pt>
                <c:pt idx="22">
                  <c:v>40360</c:v>
                </c:pt>
                <c:pt idx="23">
                  <c:v>40452</c:v>
                </c:pt>
                <c:pt idx="24">
                  <c:v>40544</c:v>
                </c:pt>
                <c:pt idx="25">
                  <c:v>40634</c:v>
                </c:pt>
                <c:pt idx="26">
                  <c:v>40725</c:v>
                </c:pt>
                <c:pt idx="27">
                  <c:v>40817</c:v>
                </c:pt>
                <c:pt idx="28">
                  <c:v>40909</c:v>
                </c:pt>
                <c:pt idx="29">
                  <c:v>41000</c:v>
                </c:pt>
                <c:pt idx="30">
                  <c:v>41091</c:v>
                </c:pt>
                <c:pt idx="31">
                  <c:v>41183</c:v>
                </c:pt>
                <c:pt idx="32">
                  <c:v>41275</c:v>
                </c:pt>
                <c:pt idx="33">
                  <c:v>41365</c:v>
                </c:pt>
                <c:pt idx="34">
                  <c:v>41456</c:v>
                </c:pt>
                <c:pt idx="35">
                  <c:v>41548</c:v>
                </c:pt>
                <c:pt idx="36">
                  <c:v>41640</c:v>
                </c:pt>
                <c:pt idx="37">
                  <c:v>41730</c:v>
                </c:pt>
                <c:pt idx="38">
                  <c:v>41821</c:v>
                </c:pt>
                <c:pt idx="39">
                  <c:v>41913</c:v>
                </c:pt>
                <c:pt idx="40">
                  <c:v>42005</c:v>
                </c:pt>
                <c:pt idx="41">
                  <c:v>42095</c:v>
                </c:pt>
                <c:pt idx="42">
                  <c:v>42186</c:v>
                </c:pt>
                <c:pt idx="43">
                  <c:v>42278</c:v>
                </c:pt>
                <c:pt idx="44">
                  <c:v>42370</c:v>
                </c:pt>
                <c:pt idx="45">
                  <c:v>42461</c:v>
                </c:pt>
                <c:pt idx="46">
                  <c:v>42552</c:v>
                </c:pt>
                <c:pt idx="47">
                  <c:v>42644</c:v>
                </c:pt>
                <c:pt idx="48">
                  <c:v>42736</c:v>
                </c:pt>
                <c:pt idx="49">
                  <c:v>42826</c:v>
                </c:pt>
                <c:pt idx="50">
                  <c:v>42917</c:v>
                </c:pt>
                <c:pt idx="51">
                  <c:v>43009</c:v>
                </c:pt>
                <c:pt idx="52">
                  <c:v>43101</c:v>
                </c:pt>
                <c:pt idx="53">
                  <c:v>43191</c:v>
                </c:pt>
                <c:pt idx="54">
                  <c:v>43282</c:v>
                </c:pt>
                <c:pt idx="55">
                  <c:v>43374</c:v>
                </c:pt>
                <c:pt idx="56">
                  <c:v>43466</c:v>
                </c:pt>
                <c:pt idx="57">
                  <c:v>43556</c:v>
                </c:pt>
                <c:pt idx="58">
                  <c:v>43647</c:v>
                </c:pt>
                <c:pt idx="59">
                  <c:v>43739</c:v>
                </c:pt>
                <c:pt idx="60">
                  <c:v>43831</c:v>
                </c:pt>
                <c:pt idx="61">
                  <c:v>43922</c:v>
                </c:pt>
                <c:pt idx="62">
                  <c:v>44013</c:v>
                </c:pt>
                <c:pt idx="63">
                  <c:v>44105</c:v>
                </c:pt>
                <c:pt idx="64">
                  <c:v>44197</c:v>
                </c:pt>
                <c:pt idx="65">
                  <c:v>44287</c:v>
                </c:pt>
                <c:pt idx="66">
                  <c:v>44378</c:v>
                </c:pt>
                <c:pt idx="67">
                  <c:v>44470</c:v>
                </c:pt>
                <c:pt idx="68">
                  <c:v>44562</c:v>
                </c:pt>
                <c:pt idx="69">
                  <c:v>44652</c:v>
                </c:pt>
                <c:pt idx="70">
                  <c:v>44743</c:v>
                </c:pt>
                <c:pt idx="71">
                  <c:v>44835</c:v>
                </c:pt>
                <c:pt idx="72">
                  <c:v>44927</c:v>
                </c:pt>
                <c:pt idx="73">
                  <c:v>45017</c:v>
                </c:pt>
                <c:pt idx="74">
                  <c:v>45108</c:v>
                </c:pt>
                <c:pt idx="75">
                  <c:v>45200</c:v>
                </c:pt>
              </c:numCache>
            </c:numRef>
          </c:cat>
          <c:val>
            <c:numRef>
              <c:f>kuvio!$K$3:$K$78</c:f>
              <c:numCache>
                <c:formatCode>General</c:formatCode>
                <c:ptCount val="76"/>
                <c:pt idx="0">
                  <c:v>96.386373436826204</c:v>
                </c:pt>
                <c:pt idx="1">
                  <c:v>99.249676584734786</c:v>
                </c:pt>
                <c:pt idx="2">
                  <c:v>101.21604139715394</c:v>
                </c:pt>
                <c:pt idx="3">
                  <c:v>103.14790858128504</c:v>
                </c:pt>
                <c:pt idx="4">
                  <c:v>103.80336351875808</c:v>
                </c:pt>
                <c:pt idx="5">
                  <c:v>105.87322121604139</c:v>
                </c:pt>
                <c:pt idx="6">
                  <c:v>107.08063820612333</c:v>
                </c:pt>
                <c:pt idx="7">
                  <c:v>108.80551962052607</c:v>
                </c:pt>
                <c:pt idx="8">
                  <c:v>110.35791289348857</c:v>
                </c:pt>
                <c:pt idx="9">
                  <c:v>112.1862871927555</c:v>
                </c:pt>
                <c:pt idx="10">
                  <c:v>113.29021129797326</c:v>
                </c:pt>
                <c:pt idx="11">
                  <c:v>113.25571366968521</c:v>
                </c:pt>
                <c:pt idx="12">
                  <c:v>114.08365674859853</c:v>
                </c:pt>
                <c:pt idx="13">
                  <c:v>115.18758085381629</c:v>
                </c:pt>
                <c:pt idx="14">
                  <c:v>113.6351875808538</c:v>
                </c:pt>
                <c:pt idx="15">
                  <c:v>108.80551962052607</c:v>
                </c:pt>
                <c:pt idx="16">
                  <c:v>107.80508840017249</c:v>
                </c:pt>
                <c:pt idx="17">
                  <c:v>111.11686071582581</c:v>
                </c:pt>
                <c:pt idx="18">
                  <c:v>114.18714963346271</c:v>
                </c:pt>
                <c:pt idx="19">
                  <c:v>117.36093143596378</c:v>
                </c:pt>
                <c:pt idx="20">
                  <c:v>120.12074169900819</c:v>
                </c:pt>
                <c:pt idx="21">
                  <c:v>122.60457093574817</c:v>
                </c:pt>
                <c:pt idx="22">
                  <c:v>123.29452350150927</c:v>
                </c:pt>
                <c:pt idx="23">
                  <c:v>123.57050452781371</c:v>
                </c:pt>
                <c:pt idx="24">
                  <c:v>125.08840017248815</c:v>
                </c:pt>
                <c:pt idx="25">
                  <c:v>126.39931004743423</c:v>
                </c:pt>
                <c:pt idx="26">
                  <c:v>126.57179818887452</c:v>
                </c:pt>
                <c:pt idx="27">
                  <c:v>124.63993100474342</c:v>
                </c:pt>
                <c:pt idx="28">
                  <c:v>126.50280293229841</c:v>
                </c:pt>
                <c:pt idx="29">
                  <c:v>127.60672703751617</c:v>
                </c:pt>
                <c:pt idx="30">
                  <c:v>128.84864165588615</c:v>
                </c:pt>
                <c:pt idx="31">
                  <c:v>128.0551962052609</c:v>
                </c:pt>
                <c:pt idx="32">
                  <c:v>128.8141440275981</c:v>
                </c:pt>
                <c:pt idx="33">
                  <c:v>130.40103492884865</c:v>
                </c:pt>
                <c:pt idx="34">
                  <c:v>130.19404915912028</c:v>
                </c:pt>
                <c:pt idx="35">
                  <c:v>129.74557999137559</c:v>
                </c:pt>
                <c:pt idx="36">
                  <c:v>129.09012505390254</c:v>
                </c:pt>
                <c:pt idx="37">
                  <c:v>129.81457524795169</c:v>
                </c:pt>
                <c:pt idx="38">
                  <c:v>129.26261319534282</c:v>
                </c:pt>
                <c:pt idx="39">
                  <c:v>128.02069857697285</c:v>
                </c:pt>
                <c:pt idx="40">
                  <c:v>127.60672703751617</c:v>
                </c:pt>
                <c:pt idx="41">
                  <c:v>128.33117723156533</c:v>
                </c:pt>
                <c:pt idx="42">
                  <c:v>128.22768434670115</c:v>
                </c:pt>
                <c:pt idx="43">
                  <c:v>127.84821043553256</c:v>
                </c:pt>
                <c:pt idx="44">
                  <c:v>128.08969383354895</c:v>
                </c:pt>
                <c:pt idx="45">
                  <c:v>129.50409659335921</c:v>
                </c:pt>
                <c:pt idx="46">
                  <c:v>129.78007761966364</c:v>
                </c:pt>
                <c:pt idx="47">
                  <c:v>129.05562742561449</c:v>
                </c:pt>
                <c:pt idx="48">
                  <c:v>129.02112979732644</c:v>
                </c:pt>
                <c:pt idx="49">
                  <c:v>130.95299698145752</c:v>
                </c:pt>
                <c:pt idx="50">
                  <c:v>130.98749460974557</c:v>
                </c:pt>
                <c:pt idx="51">
                  <c:v>130.84950409659336</c:v>
                </c:pt>
                <c:pt idx="52">
                  <c:v>130.33203967227254</c:v>
                </c:pt>
                <c:pt idx="53">
                  <c:v>132.98835705045278</c:v>
                </c:pt>
                <c:pt idx="54">
                  <c:v>131.95342820181114</c:v>
                </c:pt>
                <c:pt idx="55">
                  <c:v>131.84993531694695</c:v>
                </c:pt>
                <c:pt idx="56">
                  <c:v>132.16041397153947</c:v>
                </c:pt>
                <c:pt idx="57">
                  <c:v>134.16127641224665</c:v>
                </c:pt>
                <c:pt idx="58">
                  <c:v>132.98835705045278</c:v>
                </c:pt>
                <c:pt idx="59">
                  <c:v>131.26347563605003</c:v>
                </c:pt>
                <c:pt idx="60">
                  <c:v>133.26433807675721</c:v>
                </c:pt>
                <c:pt idx="61">
                  <c:v>133.95429064251834</c:v>
                </c:pt>
                <c:pt idx="62">
                  <c:v>135.23070288917637</c:v>
                </c:pt>
                <c:pt idx="63">
                  <c:v>135.95515308322555</c:v>
                </c:pt>
                <c:pt idx="64">
                  <c:v>136.88658904700301</c:v>
                </c:pt>
                <c:pt idx="65">
                  <c:v>140.78482104355325</c:v>
                </c:pt>
                <c:pt idx="66">
                  <c:v>140.57783527382492</c:v>
                </c:pt>
                <c:pt idx="67">
                  <c:v>140.43984476067271</c:v>
                </c:pt>
                <c:pt idx="68">
                  <c:v>140.8883139284174</c:v>
                </c:pt>
                <c:pt idx="69">
                  <c:v>142.78568348426043</c:v>
                </c:pt>
                <c:pt idx="70">
                  <c:v>140.43984476067271</c:v>
                </c:pt>
                <c:pt idx="71">
                  <c:v>136.19663648124191</c:v>
                </c:pt>
                <c:pt idx="72">
                  <c:v>133.19534282018114</c:v>
                </c:pt>
                <c:pt idx="73">
                  <c:v>132.81586890901252</c:v>
                </c:pt>
                <c:pt idx="74">
                  <c:v>130.12505390254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631-4D38-88DC-7BE48A0BD25B}"/>
            </c:ext>
          </c:extLst>
        </c:ser>
        <c:ser>
          <c:idx val="1"/>
          <c:order val="1"/>
          <c:tx>
            <c:strRef>
              <c:f>kuvio!$L$2</c:f>
              <c:strCache>
                <c:ptCount val="1"/>
                <c:pt idx="0">
                  <c:v>Ruotsi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kuvio!$J$3:$J$78</c:f>
              <c:numCache>
                <c:formatCode>m/d/yyyy</c:formatCode>
                <c:ptCount val="76"/>
                <c:pt idx="0">
                  <c:v>38353</c:v>
                </c:pt>
                <c:pt idx="1">
                  <c:v>38443</c:v>
                </c:pt>
                <c:pt idx="2">
                  <c:v>38534</c:v>
                </c:pt>
                <c:pt idx="3">
                  <c:v>38626</c:v>
                </c:pt>
                <c:pt idx="4">
                  <c:v>38718</c:v>
                </c:pt>
                <c:pt idx="5">
                  <c:v>38808</c:v>
                </c:pt>
                <c:pt idx="6">
                  <c:v>38899</c:v>
                </c:pt>
                <c:pt idx="7">
                  <c:v>38991</c:v>
                </c:pt>
                <c:pt idx="8">
                  <c:v>39083</c:v>
                </c:pt>
                <c:pt idx="9">
                  <c:v>39173</c:v>
                </c:pt>
                <c:pt idx="10">
                  <c:v>39264</c:v>
                </c:pt>
                <c:pt idx="11">
                  <c:v>39356</c:v>
                </c:pt>
                <c:pt idx="12">
                  <c:v>39448</c:v>
                </c:pt>
                <c:pt idx="13">
                  <c:v>39539</c:v>
                </c:pt>
                <c:pt idx="14">
                  <c:v>39630</c:v>
                </c:pt>
                <c:pt idx="15">
                  <c:v>39722</c:v>
                </c:pt>
                <c:pt idx="16">
                  <c:v>39814</c:v>
                </c:pt>
                <c:pt idx="17">
                  <c:v>39904</c:v>
                </c:pt>
                <c:pt idx="18">
                  <c:v>39995</c:v>
                </c:pt>
                <c:pt idx="19">
                  <c:v>40087</c:v>
                </c:pt>
                <c:pt idx="20">
                  <c:v>40179</c:v>
                </c:pt>
                <c:pt idx="21">
                  <c:v>40269</c:v>
                </c:pt>
                <c:pt idx="22">
                  <c:v>40360</c:v>
                </c:pt>
                <c:pt idx="23">
                  <c:v>40452</c:v>
                </c:pt>
                <c:pt idx="24">
                  <c:v>40544</c:v>
                </c:pt>
                <c:pt idx="25">
                  <c:v>40634</c:v>
                </c:pt>
                <c:pt idx="26">
                  <c:v>40725</c:v>
                </c:pt>
                <c:pt idx="27">
                  <c:v>40817</c:v>
                </c:pt>
                <c:pt idx="28">
                  <c:v>40909</c:v>
                </c:pt>
                <c:pt idx="29">
                  <c:v>41000</c:v>
                </c:pt>
                <c:pt idx="30">
                  <c:v>41091</c:v>
                </c:pt>
                <c:pt idx="31">
                  <c:v>41183</c:v>
                </c:pt>
                <c:pt idx="32">
                  <c:v>41275</c:v>
                </c:pt>
                <c:pt idx="33">
                  <c:v>41365</c:v>
                </c:pt>
                <c:pt idx="34">
                  <c:v>41456</c:v>
                </c:pt>
                <c:pt idx="35">
                  <c:v>41548</c:v>
                </c:pt>
                <c:pt idx="36">
                  <c:v>41640</c:v>
                </c:pt>
                <c:pt idx="37">
                  <c:v>41730</c:v>
                </c:pt>
                <c:pt idx="38">
                  <c:v>41821</c:v>
                </c:pt>
                <c:pt idx="39">
                  <c:v>41913</c:v>
                </c:pt>
                <c:pt idx="40">
                  <c:v>42005</c:v>
                </c:pt>
                <c:pt idx="41">
                  <c:v>42095</c:v>
                </c:pt>
                <c:pt idx="42">
                  <c:v>42186</c:v>
                </c:pt>
                <c:pt idx="43">
                  <c:v>42278</c:v>
                </c:pt>
                <c:pt idx="44">
                  <c:v>42370</c:v>
                </c:pt>
                <c:pt idx="45">
                  <c:v>42461</c:v>
                </c:pt>
                <c:pt idx="46">
                  <c:v>42552</c:v>
                </c:pt>
                <c:pt idx="47">
                  <c:v>42644</c:v>
                </c:pt>
                <c:pt idx="48">
                  <c:v>42736</c:v>
                </c:pt>
                <c:pt idx="49">
                  <c:v>42826</c:v>
                </c:pt>
                <c:pt idx="50">
                  <c:v>42917</c:v>
                </c:pt>
                <c:pt idx="51">
                  <c:v>43009</c:v>
                </c:pt>
                <c:pt idx="52">
                  <c:v>43101</c:v>
                </c:pt>
                <c:pt idx="53">
                  <c:v>43191</c:v>
                </c:pt>
                <c:pt idx="54">
                  <c:v>43282</c:v>
                </c:pt>
                <c:pt idx="55">
                  <c:v>43374</c:v>
                </c:pt>
                <c:pt idx="56">
                  <c:v>43466</c:v>
                </c:pt>
                <c:pt idx="57">
                  <c:v>43556</c:v>
                </c:pt>
                <c:pt idx="58">
                  <c:v>43647</c:v>
                </c:pt>
                <c:pt idx="59">
                  <c:v>43739</c:v>
                </c:pt>
                <c:pt idx="60">
                  <c:v>43831</c:v>
                </c:pt>
                <c:pt idx="61">
                  <c:v>43922</c:v>
                </c:pt>
                <c:pt idx="62">
                  <c:v>44013</c:v>
                </c:pt>
                <c:pt idx="63">
                  <c:v>44105</c:v>
                </c:pt>
                <c:pt idx="64">
                  <c:v>44197</c:v>
                </c:pt>
                <c:pt idx="65">
                  <c:v>44287</c:v>
                </c:pt>
                <c:pt idx="66">
                  <c:v>44378</c:v>
                </c:pt>
                <c:pt idx="67">
                  <c:v>44470</c:v>
                </c:pt>
                <c:pt idx="68">
                  <c:v>44562</c:v>
                </c:pt>
                <c:pt idx="69">
                  <c:v>44652</c:v>
                </c:pt>
                <c:pt idx="70">
                  <c:v>44743</c:v>
                </c:pt>
                <c:pt idx="71">
                  <c:v>44835</c:v>
                </c:pt>
                <c:pt idx="72">
                  <c:v>44927</c:v>
                </c:pt>
                <c:pt idx="73">
                  <c:v>45017</c:v>
                </c:pt>
                <c:pt idx="74">
                  <c:v>45108</c:v>
                </c:pt>
                <c:pt idx="75">
                  <c:v>45200</c:v>
                </c:pt>
              </c:numCache>
            </c:numRef>
          </c:cat>
          <c:val>
            <c:numRef>
              <c:f>kuvio!$L$3:$L$78</c:f>
              <c:numCache>
                <c:formatCode>General</c:formatCode>
                <c:ptCount val="76"/>
                <c:pt idx="0">
                  <c:v>95.061491160645659</c:v>
                </c:pt>
                <c:pt idx="1">
                  <c:v>98.232129131437347</c:v>
                </c:pt>
                <c:pt idx="2">
                  <c:v>102.01767870868564</c:v>
                </c:pt>
                <c:pt idx="3">
                  <c:v>104.68870099923136</c:v>
                </c:pt>
                <c:pt idx="4">
                  <c:v>108.35895465026904</c:v>
                </c:pt>
                <c:pt idx="5">
                  <c:v>111.45272867025365</c:v>
                </c:pt>
                <c:pt idx="6">
                  <c:v>114.41199077632591</c:v>
                </c:pt>
                <c:pt idx="7">
                  <c:v>115.10376633358955</c:v>
                </c:pt>
                <c:pt idx="8">
                  <c:v>119.5042275172944</c:v>
                </c:pt>
                <c:pt idx="9">
                  <c:v>126.78708685626444</c:v>
                </c:pt>
                <c:pt idx="10">
                  <c:v>131.36049192928516</c:v>
                </c:pt>
                <c:pt idx="11">
                  <c:v>127.61337432744043</c:v>
                </c:pt>
                <c:pt idx="12">
                  <c:v>127.99769408147579</c:v>
                </c:pt>
                <c:pt idx="13">
                  <c:v>130.47655649500385</c:v>
                </c:pt>
                <c:pt idx="14">
                  <c:v>129.554189085319</c:v>
                </c:pt>
                <c:pt idx="15">
                  <c:v>122.90545734050731</c:v>
                </c:pt>
                <c:pt idx="16">
                  <c:v>126.28747117601844</c:v>
                </c:pt>
                <c:pt idx="17">
                  <c:v>129.99615680245967</c:v>
                </c:pt>
                <c:pt idx="18">
                  <c:v>133.57033051498848</c:v>
                </c:pt>
                <c:pt idx="19">
                  <c:v>137.16372021521906</c:v>
                </c:pt>
                <c:pt idx="20">
                  <c:v>139.20061491160644</c:v>
                </c:pt>
                <c:pt idx="21">
                  <c:v>140.91083781706379</c:v>
                </c:pt>
                <c:pt idx="22">
                  <c:v>143.04381245196004</c:v>
                </c:pt>
                <c:pt idx="23">
                  <c:v>145.36894696387395</c:v>
                </c:pt>
                <c:pt idx="24">
                  <c:v>146.65641813989239</c:v>
                </c:pt>
                <c:pt idx="25">
                  <c:v>146.69485011529594</c:v>
                </c:pt>
                <c:pt idx="26">
                  <c:v>146.3489623366641</c:v>
                </c:pt>
                <c:pt idx="27">
                  <c:v>143.48578016910071</c:v>
                </c:pt>
                <c:pt idx="28">
                  <c:v>145.17678708685625</c:v>
                </c:pt>
                <c:pt idx="29">
                  <c:v>147.30976172175249</c:v>
                </c:pt>
                <c:pt idx="30">
                  <c:v>149.03920061491161</c:v>
                </c:pt>
                <c:pt idx="31">
                  <c:v>148.98155265180631</c:v>
                </c:pt>
                <c:pt idx="32">
                  <c:v>151.21060722521139</c:v>
                </c:pt>
                <c:pt idx="33">
                  <c:v>153.97770945426595</c:v>
                </c:pt>
                <c:pt idx="34">
                  <c:v>156.68716372021524</c:v>
                </c:pt>
                <c:pt idx="35">
                  <c:v>159.06994619523445</c:v>
                </c:pt>
                <c:pt idx="36">
                  <c:v>163.68178324365874</c:v>
                </c:pt>
                <c:pt idx="37">
                  <c:v>167.31360491929283</c:v>
                </c:pt>
                <c:pt idx="38">
                  <c:v>172.88624135280551</c:v>
                </c:pt>
                <c:pt idx="39">
                  <c:v>175.61491160645656</c:v>
                </c:pt>
                <c:pt idx="40">
                  <c:v>182.9554189085319</c:v>
                </c:pt>
                <c:pt idx="41">
                  <c:v>189.02767102229058</c:v>
                </c:pt>
                <c:pt idx="42">
                  <c:v>196.23366641045351</c:v>
                </c:pt>
                <c:pt idx="43">
                  <c:v>200.42275172943889</c:v>
                </c:pt>
                <c:pt idx="44">
                  <c:v>203.03612605687934</c:v>
                </c:pt>
                <c:pt idx="45">
                  <c:v>205.41890853189858</c:v>
                </c:pt>
                <c:pt idx="46">
                  <c:v>210.12682551883165</c:v>
                </c:pt>
                <c:pt idx="47">
                  <c:v>213.41275941583399</c:v>
                </c:pt>
                <c:pt idx="48">
                  <c:v>219.10069177555727</c:v>
                </c:pt>
                <c:pt idx="49">
                  <c:v>222.847809377402</c:v>
                </c:pt>
                <c:pt idx="50">
                  <c:v>225.96079938508842</c:v>
                </c:pt>
                <c:pt idx="51">
                  <c:v>219.31206764027672</c:v>
                </c:pt>
                <c:pt idx="52">
                  <c:v>217.60184473481937</c:v>
                </c:pt>
                <c:pt idx="53">
                  <c:v>219.13912375096083</c:v>
                </c:pt>
                <c:pt idx="54">
                  <c:v>221.29131437355878</c:v>
                </c:pt>
                <c:pt idx="55">
                  <c:v>220.90699461952346</c:v>
                </c:pt>
                <c:pt idx="56">
                  <c:v>220.92621060722522</c:v>
                </c:pt>
                <c:pt idx="57">
                  <c:v>223.88547271329747</c:v>
                </c:pt>
                <c:pt idx="58">
                  <c:v>227.78631821675637</c:v>
                </c:pt>
                <c:pt idx="59">
                  <c:v>228.15142198308993</c:v>
                </c:pt>
                <c:pt idx="60">
                  <c:v>230.97617217524981</c:v>
                </c:pt>
                <c:pt idx="61">
                  <c:v>231.16833205226749</c:v>
                </c:pt>
                <c:pt idx="62">
                  <c:v>236.26056879323599</c:v>
                </c:pt>
                <c:pt idx="63">
                  <c:v>240.18063028439661</c:v>
                </c:pt>
                <c:pt idx="64">
                  <c:v>247.6940814757879</c:v>
                </c:pt>
                <c:pt idx="65">
                  <c:v>256.41813989239046</c:v>
                </c:pt>
                <c:pt idx="66">
                  <c:v>263.04765564950037</c:v>
                </c:pt>
                <c:pt idx="67">
                  <c:v>266.37202152190622</c:v>
                </c:pt>
                <c:pt idx="68">
                  <c:v>273.23212913143738</c:v>
                </c:pt>
                <c:pt idx="69">
                  <c:v>274.51960030745585</c:v>
                </c:pt>
                <c:pt idx="70">
                  <c:v>266.06456571867795</c:v>
                </c:pt>
                <c:pt idx="71">
                  <c:v>256.51421983089932</c:v>
                </c:pt>
                <c:pt idx="72">
                  <c:v>254.36202920830132</c:v>
                </c:pt>
                <c:pt idx="73">
                  <c:v>255.86087624903922</c:v>
                </c:pt>
                <c:pt idx="74">
                  <c:v>254.82321291314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631-4D38-88DC-7BE48A0BD25B}"/>
            </c:ext>
          </c:extLst>
        </c:ser>
        <c:ser>
          <c:idx val="2"/>
          <c:order val="2"/>
          <c:tx>
            <c:strRef>
              <c:f>kuvio!$M$2</c:f>
              <c:strCache>
                <c:ptCount val="1"/>
                <c:pt idx="0">
                  <c:v>Norja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kuvio!$J$3:$J$78</c:f>
              <c:numCache>
                <c:formatCode>m/d/yyyy</c:formatCode>
                <c:ptCount val="76"/>
                <c:pt idx="0">
                  <c:v>38353</c:v>
                </c:pt>
                <c:pt idx="1">
                  <c:v>38443</c:v>
                </c:pt>
                <c:pt idx="2">
                  <c:v>38534</c:v>
                </c:pt>
                <c:pt idx="3">
                  <c:v>38626</c:v>
                </c:pt>
                <c:pt idx="4">
                  <c:v>38718</c:v>
                </c:pt>
                <c:pt idx="5">
                  <c:v>38808</c:v>
                </c:pt>
                <c:pt idx="6">
                  <c:v>38899</c:v>
                </c:pt>
                <c:pt idx="7">
                  <c:v>38991</c:v>
                </c:pt>
                <c:pt idx="8">
                  <c:v>39083</c:v>
                </c:pt>
                <c:pt idx="9">
                  <c:v>39173</c:v>
                </c:pt>
                <c:pt idx="10">
                  <c:v>39264</c:v>
                </c:pt>
                <c:pt idx="11">
                  <c:v>39356</c:v>
                </c:pt>
                <c:pt idx="12">
                  <c:v>39448</c:v>
                </c:pt>
                <c:pt idx="13">
                  <c:v>39539</c:v>
                </c:pt>
                <c:pt idx="14">
                  <c:v>39630</c:v>
                </c:pt>
                <c:pt idx="15">
                  <c:v>39722</c:v>
                </c:pt>
                <c:pt idx="16">
                  <c:v>39814</c:v>
                </c:pt>
                <c:pt idx="17">
                  <c:v>39904</c:v>
                </c:pt>
                <c:pt idx="18">
                  <c:v>39995</c:v>
                </c:pt>
                <c:pt idx="19">
                  <c:v>40087</c:v>
                </c:pt>
                <c:pt idx="20">
                  <c:v>40179</c:v>
                </c:pt>
                <c:pt idx="21">
                  <c:v>40269</c:v>
                </c:pt>
                <c:pt idx="22">
                  <c:v>40360</c:v>
                </c:pt>
                <c:pt idx="23">
                  <c:v>40452</c:v>
                </c:pt>
                <c:pt idx="24">
                  <c:v>40544</c:v>
                </c:pt>
                <c:pt idx="25">
                  <c:v>40634</c:v>
                </c:pt>
                <c:pt idx="26">
                  <c:v>40725</c:v>
                </c:pt>
                <c:pt idx="27">
                  <c:v>40817</c:v>
                </c:pt>
                <c:pt idx="28">
                  <c:v>40909</c:v>
                </c:pt>
                <c:pt idx="29">
                  <c:v>41000</c:v>
                </c:pt>
                <c:pt idx="30">
                  <c:v>41091</c:v>
                </c:pt>
                <c:pt idx="31">
                  <c:v>41183</c:v>
                </c:pt>
                <c:pt idx="32">
                  <c:v>41275</c:v>
                </c:pt>
                <c:pt idx="33">
                  <c:v>41365</c:v>
                </c:pt>
                <c:pt idx="34">
                  <c:v>41456</c:v>
                </c:pt>
                <c:pt idx="35">
                  <c:v>41548</c:v>
                </c:pt>
                <c:pt idx="36">
                  <c:v>41640</c:v>
                </c:pt>
                <c:pt idx="37">
                  <c:v>41730</c:v>
                </c:pt>
                <c:pt idx="38">
                  <c:v>41821</c:v>
                </c:pt>
                <c:pt idx="39">
                  <c:v>41913</c:v>
                </c:pt>
                <c:pt idx="40">
                  <c:v>42005</c:v>
                </c:pt>
                <c:pt idx="41">
                  <c:v>42095</c:v>
                </c:pt>
                <c:pt idx="42">
                  <c:v>42186</c:v>
                </c:pt>
                <c:pt idx="43">
                  <c:v>42278</c:v>
                </c:pt>
                <c:pt idx="44">
                  <c:v>42370</c:v>
                </c:pt>
                <c:pt idx="45">
                  <c:v>42461</c:v>
                </c:pt>
                <c:pt idx="46">
                  <c:v>42552</c:v>
                </c:pt>
                <c:pt idx="47">
                  <c:v>42644</c:v>
                </c:pt>
                <c:pt idx="48">
                  <c:v>42736</c:v>
                </c:pt>
                <c:pt idx="49">
                  <c:v>42826</c:v>
                </c:pt>
                <c:pt idx="50">
                  <c:v>42917</c:v>
                </c:pt>
                <c:pt idx="51">
                  <c:v>43009</c:v>
                </c:pt>
                <c:pt idx="52">
                  <c:v>43101</c:v>
                </c:pt>
                <c:pt idx="53">
                  <c:v>43191</c:v>
                </c:pt>
                <c:pt idx="54">
                  <c:v>43282</c:v>
                </c:pt>
                <c:pt idx="55">
                  <c:v>43374</c:v>
                </c:pt>
                <c:pt idx="56">
                  <c:v>43466</c:v>
                </c:pt>
                <c:pt idx="57">
                  <c:v>43556</c:v>
                </c:pt>
                <c:pt idx="58">
                  <c:v>43647</c:v>
                </c:pt>
                <c:pt idx="59">
                  <c:v>43739</c:v>
                </c:pt>
                <c:pt idx="60">
                  <c:v>43831</c:v>
                </c:pt>
                <c:pt idx="61">
                  <c:v>43922</c:v>
                </c:pt>
                <c:pt idx="62">
                  <c:v>44013</c:v>
                </c:pt>
                <c:pt idx="63">
                  <c:v>44105</c:v>
                </c:pt>
                <c:pt idx="64">
                  <c:v>44197</c:v>
                </c:pt>
                <c:pt idx="65">
                  <c:v>44287</c:v>
                </c:pt>
                <c:pt idx="66">
                  <c:v>44378</c:v>
                </c:pt>
                <c:pt idx="67">
                  <c:v>44470</c:v>
                </c:pt>
                <c:pt idx="68">
                  <c:v>44562</c:v>
                </c:pt>
                <c:pt idx="69">
                  <c:v>44652</c:v>
                </c:pt>
                <c:pt idx="70">
                  <c:v>44743</c:v>
                </c:pt>
                <c:pt idx="71">
                  <c:v>44835</c:v>
                </c:pt>
                <c:pt idx="72">
                  <c:v>44927</c:v>
                </c:pt>
                <c:pt idx="73">
                  <c:v>45017</c:v>
                </c:pt>
                <c:pt idx="74">
                  <c:v>45108</c:v>
                </c:pt>
                <c:pt idx="75">
                  <c:v>45200</c:v>
                </c:pt>
              </c:numCache>
            </c:numRef>
          </c:cat>
          <c:val>
            <c:numRef>
              <c:f>kuvio!$M$3:$M$78</c:f>
              <c:numCache>
                <c:formatCode>General</c:formatCode>
                <c:ptCount val="76"/>
                <c:pt idx="0">
                  <c:v>97.489730716567777</c:v>
                </c:pt>
                <c:pt idx="1">
                  <c:v>100.22820629849384</c:v>
                </c:pt>
                <c:pt idx="2">
                  <c:v>101.1410314924692</c:v>
                </c:pt>
                <c:pt idx="3">
                  <c:v>101.1410314924692</c:v>
                </c:pt>
                <c:pt idx="4">
                  <c:v>107.53080785029667</c:v>
                </c:pt>
                <c:pt idx="5">
                  <c:v>112.82519397535371</c:v>
                </c:pt>
                <c:pt idx="6">
                  <c:v>116.47649475125512</c:v>
                </c:pt>
                <c:pt idx="7">
                  <c:v>117.9370150616157</c:v>
                </c:pt>
                <c:pt idx="8">
                  <c:v>125.23961661341852</c:v>
                </c:pt>
                <c:pt idx="9">
                  <c:v>129.98630762209038</c:v>
                </c:pt>
                <c:pt idx="10">
                  <c:v>129.8037425832953</c:v>
                </c:pt>
                <c:pt idx="11">
                  <c:v>126.88270196257416</c:v>
                </c:pt>
                <c:pt idx="12">
                  <c:v>129.8037425832953</c:v>
                </c:pt>
                <c:pt idx="13">
                  <c:v>131.44682793245096</c:v>
                </c:pt>
                <c:pt idx="14">
                  <c:v>127.06526700136922</c:v>
                </c:pt>
                <c:pt idx="15">
                  <c:v>118.11958010041077</c:v>
                </c:pt>
                <c:pt idx="16">
                  <c:v>123.04883614787769</c:v>
                </c:pt>
                <c:pt idx="17">
                  <c:v>129.43861250570515</c:v>
                </c:pt>
                <c:pt idx="18">
                  <c:v>131.81195801004108</c:v>
                </c:pt>
                <c:pt idx="19">
                  <c:v>131.81195801004108</c:v>
                </c:pt>
                <c:pt idx="20">
                  <c:v>136.19351894112276</c:v>
                </c:pt>
                <c:pt idx="21">
                  <c:v>141.30534002738477</c:v>
                </c:pt>
                <c:pt idx="22">
                  <c:v>140.57507987220447</c:v>
                </c:pt>
                <c:pt idx="23">
                  <c:v>140.39251483340942</c:v>
                </c:pt>
                <c:pt idx="24">
                  <c:v>147.69511638521223</c:v>
                </c:pt>
                <c:pt idx="25">
                  <c:v>151.71154723870379</c:v>
                </c:pt>
                <c:pt idx="26">
                  <c:v>152.25924235508901</c:v>
                </c:pt>
                <c:pt idx="27">
                  <c:v>151.52898219990871</c:v>
                </c:pt>
                <c:pt idx="28">
                  <c:v>157.00593336376085</c:v>
                </c:pt>
                <c:pt idx="29">
                  <c:v>162.1177544500228</c:v>
                </c:pt>
                <c:pt idx="30">
                  <c:v>163.03057964399815</c:v>
                </c:pt>
                <c:pt idx="31">
                  <c:v>161.93518941122775</c:v>
                </c:pt>
                <c:pt idx="32">
                  <c:v>166.86444545869469</c:v>
                </c:pt>
                <c:pt idx="33">
                  <c:v>171.42857142857144</c:v>
                </c:pt>
                <c:pt idx="34">
                  <c:v>168.14240073026014</c:v>
                </c:pt>
                <c:pt idx="35">
                  <c:v>163.57827476038338</c:v>
                </c:pt>
                <c:pt idx="36">
                  <c:v>167.41214057507986</c:v>
                </c:pt>
                <c:pt idx="37">
                  <c:v>173.80191693290737</c:v>
                </c:pt>
                <c:pt idx="38">
                  <c:v>173.98448197170242</c:v>
                </c:pt>
                <c:pt idx="39">
                  <c:v>173.07165677772707</c:v>
                </c:pt>
                <c:pt idx="40">
                  <c:v>179.46143313555453</c:v>
                </c:pt>
                <c:pt idx="41">
                  <c:v>185.30351437699682</c:v>
                </c:pt>
                <c:pt idx="42">
                  <c:v>184.57325422181651</c:v>
                </c:pt>
                <c:pt idx="43">
                  <c:v>180.92195344591511</c:v>
                </c:pt>
                <c:pt idx="44">
                  <c:v>187.67685988133272</c:v>
                </c:pt>
                <c:pt idx="45">
                  <c:v>195.52715654952075</c:v>
                </c:pt>
                <c:pt idx="46">
                  <c:v>199.17845732542219</c:v>
                </c:pt>
                <c:pt idx="47">
                  <c:v>199.17845732542219</c:v>
                </c:pt>
                <c:pt idx="48">
                  <c:v>206.6636239160201</c:v>
                </c:pt>
                <c:pt idx="49">
                  <c:v>209.036969420356</c:v>
                </c:pt>
                <c:pt idx="50">
                  <c:v>204.10771337288912</c:v>
                </c:pt>
                <c:pt idx="51">
                  <c:v>200.63897763578277</c:v>
                </c:pt>
                <c:pt idx="52">
                  <c:v>204.47284345047922</c:v>
                </c:pt>
                <c:pt idx="53">
                  <c:v>212.50570515746236</c:v>
                </c:pt>
                <c:pt idx="54">
                  <c:v>210.13235965312643</c:v>
                </c:pt>
                <c:pt idx="55">
                  <c:v>205.20310360565955</c:v>
                </c:pt>
                <c:pt idx="56">
                  <c:v>210.68005476951166</c:v>
                </c:pt>
                <c:pt idx="57">
                  <c:v>216.70470104974896</c:v>
                </c:pt>
                <c:pt idx="58">
                  <c:v>215.06161570059334</c:v>
                </c:pt>
                <c:pt idx="59">
                  <c:v>210.49748973071658</c:v>
                </c:pt>
                <c:pt idx="60">
                  <c:v>214.69648562300318</c:v>
                </c:pt>
                <c:pt idx="61">
                  <c:v>222.54678229119125</c:v>
                </c:pt>
                <c:pt idx="62">
                  <c:v>225.65038795070743</c:v>
                </c:pt>
                <c:pt idx="63">
                  <c:v>226.38064810588773</c:v>
                </c:pt>
                <c:pt idx="64">
                  <c:v>238.61250570515745</c:v>
                </c:pt>
                <c:pt idx="65">
                  <c:v>250.11410314924692</c:v>
                </c:pt>
                <c:pt idx="66">
                  <c:v>249.20127795527156</c:v>
                </c:pt>
                <c:pt idx="67">
                  <c:v>244.45458694659976</c:v>
                </c:pt>
                <c:pt idx="68">
                  <c:v>255.7736193518941</c:v>
                </c:pt>
                <c:pt idx="69">
                  <c:v>265.99726152441809</c:v>
                </c:pt>
                <c:pt idx="70">
                  <c:v>261.25057051574623</c:v>
                </c:pt>
                <c:pt idx="71">
                  <c:v>250.84436330442722</c:v>
                </c:pt>
                <c:pt idx="72">
                  <c:v>255.59105431309902</c:v>
                </c:pt>
                <c:pt idx="73">
                  <c:v>265.63213144682794</c:v>
                </c:pt>
                <c:pt idx="74">
                  <c:v>257.96439981743498</c:v>
                </c:pt>
                <c:pt idx="75">
                  <c:v>249.018712916476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631-4D38-88DC-7BE48A0BD25B}"/>
            </c:ext>
          </c:extLst>
        </c:ser>
        <c:ser>
          <c:idx val="3"/>
          <c:order val="3"/>
          <c:tx>
            <c:strRef>
              <c:f>kuvio!$N$2</c:f>
              <c:strCache>
                <c:ptCount val="1"/>
                <c:pt idx="0">
                  <c:v>Tanska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kuvio!$J$3:$J$78</c:f>
              <c:numCache>
                <c:formatCode>m/d/yyyy</c:formatCode>
                <c:ptCount val="76"/>
                <c:pt idx="0">
                  <c:v>38353</c:v>
                </c:pt>
                <c:pt idx="1">
                  <c:v>38443</c:v>
                </c:pt>
                <c:pt idx="2">
                  <c:v>38534</c:v>
                </c:pt>
                <c:pt idx="3">
                  <c:v>38626</c:v>
                </c:pt>
                <c:pt idx="4">
                  <c:v>38718</c:v>
                </c:pt>
                <c:pt idx="5">
                  <c:v>38808</c:v>
                </c:pt>
                <c:pt idx="6">
                  <c:v>38899</c:v>
                </c:pt>
                <c:pt idx="7">
                  <c:v>38991</c:v>
                </c:pt>
                <c:pt idx="8">
                  <c:v>39083</c:v>
                </c:pt>
                <c:pt idx="9">
                  <c:v>39173</c:v>
                </c:pt>
                <c:pt idx="10">
                  <c:v>39264</c:v>
                </c:pt>
                <c:pt idx="11">
                  <c:v>39356</c:v>
                </c:pt>
                <c:pt idx="12">
                  <c:v>39448</c:v>
                </c:pt>
                <c:pt idx="13">
                  <c:v>39539</c:v>
                </c:pt>
                <c:pt idx="14">
                  <c:v>39630</c:v>
                </c:pt>
                <c:pt idx="15">
                  <c:v>39722</c:v>
                </c:pt>
                <c:pt idx="16">
                  <c:v>39814</c:v>
                </c:pt>
                <c:pt idx="17">
                  <c:v>39904</c:v>
                </c:pt>
                <c:pt idx="18">
                  <c:v>39995</c:v>
                </c:pt>
                <c:pt idx="19">
                  <c:v>40087</c:v>
                </c:pt>
                <c:pt idx="20">
                  <c:v>40179</c:v>
                </c:pt>
                <c:pt idx="21">
                  <c:v>40269</c:v>
                </c:pt>
                <c:pt idx="22">
                  <c:v>40360</c:v>
                </c:pt>
                <c:pt idx="23">
                  <c:v>40452</c:v>
                </c:pt>
                <c:pt idx="24">
                  <c:v>40544</c:v>
                </c:pt>
                <c:pt idx="25">
                  <c:v>40634</c:v>
                </c:pt>
                <c:pt idx="26">
                  <c:v>40725</c:v>
                </c:pt>
                <c:pt idx="27">
                  <c:v>40817</c:v>
                </c:pt>
                <c:pt idx="28">
                  <c:v>40909</c:v>
                </c:pt>
                <c:pt idx="29">
                  <c:v>41000</c:v>
                </c:pt>
                <c:pt idx="30">
                  <c:v>41091</c:v>
                </c:pt>
                <c:pt idx="31">
                  <c:v>41183</c:v>
                </c:pt>
                <c:pt idx="32">
                  <c:v>41275</c:v>
                </c:pt>
                <c:pt idx="33">
                  <c:v>41365</c:v>
                </c:pt>
                <c:pt idx="34">
                  <c:v>41456</c:v>
                </c:pt>
                <c:pt idx="35">
                  <c:v>41548</c:v>
                </c:pt>
                <c:pt idx="36">
                  <c:v>41640</c:v>
                </c:pt>
                <c:pt idx="37">
                  <c:v>41730</c:v>
                </c:pt>
                <c:pt idx="38">
                  <c:v>41821</c:v>
                </c:pt>
                <c:pt idx="39">
                  <c:v>41913</c:v>
                </c:pt>
                <c:pt idx="40">
                  <c:v>42005</c:v>
                </c:pt>
                <c:pt idx="41">
                  <c:v>42095</c:v>
                </c:pt>
                <c:pt idx="42">
                  <c:v>42186</c:v>
                </c:pt>
                <c:pt idx="43">
                  <c:v>42278</c:v>
                </c:pt>
                <c:pt idx="44">
                  <c:v>42370</c:v>
                </c:pt>
                <c:pt idx="45">
                  <c:v>42461</c:v>
                </c:pt>
                <c:pt idx="46">
                  <c:v>42552</c:v>
                </c:pt>
                <c:pt idx="47">
                  <c:v>42644</c:v>
                </c:pt>
                <c:pt idx="48">
                  <c:v>42736</c:v>
                </c:pt>
                <c:pt idx="49">
                  <c:v>42826</c:v>
                </c:pt>
                <c:pt idx="50">
                  <c:v>42917</c:v>
                </c:pt>
                <c:pt idx="51">
                  <c:v>43009</c:v>
                </c:pt>
                <c:pt idx="52">
                  <c:v>43101</c:v>
                </c:pt>
                <c:pt idx="53">
                  <c:v>43191</c:v>
                </c:pt>
                <c:pt idx="54">
                  <c:v>43282</c:v>
                </c:pt>
                <c:pt idx="55">
                  <c:v>43374</c:v>
                </c:pt>
                <c:pt idx="56">
                  <c:v>43466</c:v>
                </c:pt>
                <c:pt idx="57">
                  <c:v>43556</c:v>
                </c:pt>
                <c:pt idx="58">
                  <c:v>43647</c:v>
                </c:pt>
                <c:pt idx="59">
                  <c:v>43739</c:v>
                </c:pt>
                <c:pt idx="60">
                  <c:v>43831</c:v>
                </c:pt>
                <c:pt idx="61">
                  <c:v>43922</c:v>
                </c:pt>
                <c:pt idx="62">
                  <c:v>44013</c:v>
                </c:pt>
                <c:pt idx="63">
                  <c:v>44105</c:v>
                </c:pt>
                <c:pt idx="64">
                  <c:v>44197</c:v>
                </c:pt>
                <c:pt idx="65">
                  <c:v>44287</c:v>
                </c:pt>
                <c:pt idx="66">
                  <c:v>44378</c:v>
                </c:pt>
                <c:pt idx="67">
                  <c:v>44470</c:v>
                </c:pt>
                <c:pt idx="68">
                  <c:v>44562</c:v>
                </c:pt>
                <c:pt idx="69">
                  <c:v>44652</c:v>
                </c:pt>
                <c:pt idx="70">
                  <c:v>44743</c:v>
                </c:pt>
                <c:pt idx="71">
                  <c:v>44835</c:v>
                </c:pt>
                <c:pt idx="72">
                  <c:v>44927</c:v>
                </c:pt>
                <c:pt idx="73">
                  <c:v>45017</c:v>
                </c:pt>
                <c:pt idx="74">
                  <c:v>45108</c:v>
                </c:pt>
                <c:pt idx="75">
                  <c:v>45200</c:v>
                </c:pt>
              </c:numCache>
            </c:numRef>
          </c:cat>
          <c:val>
            <c:numRef>
              <c:f>kuvio!$N$3:$N$78</c:f>
              <c:numCache>
                <c:formatCode>General</c:formatCode>
                <c:ptCount val="76"/>
                <c:pt idx="0">
                  <c:v>89.600000000000009</c:v>
                </c:pt>
                <c:pt idx="1">
                  <c:v>96.738461538461536</c:v>
                </c:pt>
                <c:pt idx="2">
                  <c:v>104</c:v>
                </c:pt>
                <c:pt idx="3">
                  <c:v>109.66153846153846</c:v>
                </c:pt>
                <c:pt idx="4">
                  <c:v>116.06153846153846</c:v>
                </c:pt>
                <c:pt idx="5">
                  <c:v>125.66153846153844</c:v>
                </c:pt>
                <c:pt idx="6">
                  <c:v>127.01538461538462</c:v>
                </c:pt>
                <c:pt idx="7">
                  <c:v>123.69230769230771</c:v>
                </c:pt>
                <c:pt idx="8">
                  <c:v>120</c:v>
                </c:pt>
                <c:pt idx="9">
                  <c:v>118.39999999999999</c:v>
                </c:pt>
                <c:pt idx="10">
                  <c:v>115.93846153846155</c:v>
                </c:pt>
                <c:pt idx="11">
                  <c:v>111.26153846153848</c:v>
                </c:pt>
                <c:pt idx="12">
                  <c:v>110.15384615384616</c:v>
                </c:pt>
                <c:pt idx="13">
                  <c:v>107.93846153846154</c:v>
                </c:pt>
                <c:pt idx="14">
                  <c:v>103.75384615384615</c:v>
                </c:pt>
                <c:pt idx="15">
                  <c:v>97.6</c:v>
                </c:pt>
                <c:pt idx="16">
                  <c:v>89.600000000000009</c:v>
                </c:pt>
                <c:pt idx="17">
                  <c:v>91.199999999999989</c:v>
                </c:pt>
                <c:pt idx="18">
                  <c:v>91.692307692307693</c:v>
                </c:pt>
                <c:pt idx="19">
                  <c:v>92.430769230769229</c:v>
                </c:pt>
                <c:pt idx="20">
                  <c:v>94.646153846153851</c:v>
                </c:pt>
                <c:pt idx="21">
                  <c:v>97.476923076923086</c:v>
                </c:pt>
                <c:pt idx="22">
                  <c:v>98.338461538461544</c:v>
                </c:pt>
                <c:pt idx="23">
                  <c:v>98.215384615384622</c:v>
                </c:pt>
                <c:pt idx="24">
                  <c:v>99.07692307692308</c:v>
                </c:pt>
                <c:pt idx="25">
                  <c:v>99.07692307692308</c:v>
                </c:pt>
                <c:pt idx="26">
                  <c:v>95.507692307692309</c:v>
                </c:pt>
                <c:pt idx="27">
                  <c:v>94.523076923076914</c:v>
                </c:pt>
                <c:pt idx="28">
                  <c:v>95.261538461538464</c:v>
                </c:pt>
                <c:pt idx="29">
                  <c:v>96</c:v>
                </c:pt>
                <c:pt idx="30">
                  <c:v>98.953846153846158</c:v>
                </c:pt>
                <c:pt idx="31">
                  <c:v>99.199999999999989</c:v>
                </c:pt>
                <c:pt idx="32">
                  <c:v>101.9076923076923</c:v>
                </c:pt>
                <c:pt idx="33">
                  <c:v>105.35384615384615</c:v>
                </c:pt>
                <c:pt idx="34">
                  <c:v>106.83076923076922</c:v>
                </c:pt>
                <c:pt idx="35">
                  <c:v>107.69230769230769</c:v>
                </c:pt>
                <c:pt idx="36">
                  <c:v>110.8923076923077</c:v>
                </c:pt>
                <c:pt idx="37">
                  <c:v>114.83076923076922</c:v>
                </c:pt>
                <c:pt idx="38">
                  <c:v>115.8153846153846</c:v>
                </c:pt>
                <c:pt idx="39">
                  <c:v>116.55384615384617</c:v>
                </c:pt>
                <c:pt idx="40">
                  <c:v>121.35384615384615</c:v>
                </c:pt>
                <c:pt idx="41">
                  <c:v>126.52307692307691</c:v>
                </c:pt>
                <c:pt idx="42">
                  <c:v>129.23076923076923</c:v>
                </c:pt>
                <c:pt idx="43">
                  <c:v>129.4769230769231</c:v>
                </c:pt>
                <c:pt idx="44">
                  <c:v>133.90769230769232</c:v>
                </c:pt>
                <c:pt idx="45">
                  <c:v>136.24615384615385</c:v>
                </c:pt>
                <c:pt idx="46">
                  <c:v>137.96923076923076</c:v>
                </c:pt>
                <c:pt idx="47">
                  <c:v>138.7076923076923</c:v>
                </c:pt>
                <c:pt idx="48">
                  <c:v>142.03076923076924</c:v>
                </c:pt>
                <c:pt idx="49">
                  <c:v>145.23076923076923</c:v>
                </c:pt>
                <c:pt idx="50">
                  <c:v>148.43076923076924</c:v>
                </c:pt>
                <c:pt idx="51">
                  <c:v>148.43076923076924</c:v>
                </c:pt>
                <c:pt idx="52">
                  <c:v>152.73846153846154</c:v>
                </c:pt>
                <c:pt idx="53">
                  <c:v>154.83076923076922</c:v>
                </c:pt>
                <c:pt idx="54">
                  <c:v>153.10769230769233</c:v>
                </c:pt>
                <c:pt idx="55">
                  <c:v>151.50769230769231</c:v>
                </c:pt>
                <c:pt idx="56">
                  <c:v>151.63076923076923</c:v>
                </c:pt>
                <c:pt idx="57">
                  <c:v>154.58461538461538</c:v>
                </c:pt>
                <c:pt idx="58">
                  <c:v>153.72307692307695</c:v>
                </c:pt>
                <c:pt idx="59">
                  <c:v>153.84615384615387</c:v>
                </c:pt>
                <c:pt idx="60">
                  <c:v>156.80000000000001</c:v>
                </c:pt>
                <c:pt idx="61">
                  <c:v>158.52307692307696</c:v>
                </c:pt>
                <c:pt idx="62">
                  <c:v>164.06153846153848</c:v>
                </c:pt>
                <c:pt idx="63">
                  <c:v>167.38461538461539</c:v>
                </c:pt>
                <c:pt idx="64">
                  <c:v>175.75384615384618</c:v>
                </c:pt>
                <c:pt idx="65">
                  <c:v>177.72307692307695</c:v>
                </c:pt>
                <c:pt idx="66">
                  <c:v>180.67692307692309</c:v>
                </c:pt>
                <c:pt idx="67">
                  <c:v>180.1846153846154</c:v>
                </c:pt>
                <c:pt idx="68">
                  <c:v>184.61538461538461</c:v>
                </c:pt>
                <c:pt idx="69">
                  <c:v>185.47692307692307</c:v>
                </c:pt>
                <c:pt idx="70">
                  <c:v>176.73846153846154</c:v>
                </c:pt>
                <c:pt idx="71">
                  <c:v>172.30769230769232</c:v>
                </c:pt>
                <c:pt idx="72">
                  <c:v>173.04615384615386</c:v>
                </c:pt>
                <c:pt idx="73">
                  <c:v>178.46153846153848</c:v>
                </c:pt>
                <c:pt idx="74">
                  <c:v>181.661538461538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631-4D38-88DC-7BE48A0BD2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55538984"/>
        <c:axId val="755539968"/>
      </c:lineChart>
      <c:dateAx>
        <c:axId val="755538984"/>
        <c:scaling>
          <c:orientation val="minMax"/>
          <c:max val="45200"/>
        </c:scaling>
        <c:delete val="0"/>
        <c:axPos val="b"/>
        <c:numFmt formatCode="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755539968"/>
        <c:crosses val="autoZero"/>
        <c:auto val="1"/>
        <c:lblOffset val="100"/>
        <c:baseTimeUnit val="months"/>
        <c:majorUnit val="12"/>
        <c:majorTimeUnit val="months"/>
      </c:dateAx>
      <c:valAx>
        <c:axId val="755539968"/>
        <c:scaling>
          <c:orientation val="minMax"/>
          <c:min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755538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i-FI" b="1" dirty="0"/>
              <a:t>Kiinteistökaupat romahtivat finanssikriisin</a:t>
            </a:r>
            <a:r>
              <a:rPr lang="fi-FI" b="1" baseline="0" dirty="0"/>
              <a:t> tasolle</a:t>
            </a:r>
          </a:p>
          <a:p>
            <a:pPr algn="l">
              <a:defRPr/>
            </a:pPr>
            <a:r>
              <a:rPr lang="fi-FI" sz="1200" b="0" baseline="0" dirty="0"/>
              <a:t>Kauppavolyymit (miljardia euroa)</a:t>
            </a:r>
          </a:p>
          <a:p>
            <a:pPr algn="l">
              <a:defRPr/>
            </a:pPr>
            <a:endParaRPr lang="fi-FI" b="1" dirty="0"/>
          </a:p>
        </c:rich>
      </c:tx>
      <c:layout>
        <c:manualLayout>
          <c:xMode val="edge"/>
          <c:yMode val="edge"/>
          <c:x val="1.5154627410704227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5.7928583669309378E-2"/>
          <c:y val="0.15066856330014225"/>
          <c:w val="0.91687095814054176"/>
          <c:h val="0.7213158454766411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ul1!$A$2</c:f>
              <c:strCache>
                <c:ptCount val="1"/>
                <c:pt idx="0">
                  <c:v>Lii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aul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Taul1!$B$2:$O$2</c:f>
              <c:numCache>
                <c:formatCode>General</c:formatCode>
                <c:ptCount val="14"/>
                <c:pt idx="0">
                  <c:v>0.7</c:v>
                </c:pt>
                <c:pt idx="1">
                  <c:v>0.4</c:v>
                </c:pt>
                <c:pt idx="2">
                  <c:v>0.06</c:v>
                </c:pt>
                <c:pt idx="3">
                  <c:v>0.5</c:v>
                </c:pt>
                <c:pt idx="4">
                  <c:v>1.1000000000000001</c:v>
                </c:pt>
                <c:pt idx="5">
                  <c:v>1.7</c:v>
                </c:pt>
                <c:pt idx="6">
                  <c:v>1.7</c:v>
                </c:pt>
                <c:pt idx="7">
                  <c:v>2.7</c:v>
                </c:pt>
                <c:pt idx="8">
                  <c:v>2.2000000000000002</c:v>
                </c:pt>
                <c:pt idx="9">
                  <c:v>1.1000000000000001</c:v>
                </c:pt>
                <c:pt idx="10">
                  <c:v>0.9</c:v>
                </c:pt>
                <c:pt idx="11">
                  <c:v>0.7</c:v>
                </c:pt>
                <c:pt idx="12">
                  <c:v>1.2</c:v>
                </c:pt>
                <c:pt idx="1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94-4411-8DD1-319160B0EAB3}"/>
            </c:ext>
          </c:extLst>
        </c:ser>
        <c:ser>
          <c:idx val="1"/>
          <c:order val="1"/>
          <c:tx>
            <c:strRef>
              <c:f>Taul1!$A$3</c:f>
              <c:strCache>
                <c:ptCount val="1"/>
                <c:pt idx="0">
                  <c:v>Toimist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Taul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Taul1!$B$3:$O$3</c:f>
              <c:numCache>
                <c:formatCode>General</c:formatCode>
                <c:ptCount val="14"/>
                <c:pt idx="0">
                  <c:v>0.8</c:v>
                </c:pt>
                <c:pt idx="1">
                  <c:v>0.7</c:v>
                </c:pt>
                <c:pt idx="2">
                  <c:v>1</c:v>
                </c:pt>
                <c:pt idx="3">
                  <c:v>0.8</c:v>
                </c:pt>
                <c:pt idx="4">
                  <c:v>1</c:v>
                </c:pt>
                <c:pt idx="5">
                  <c:v>1.4</c:v>
                </c:pt>
                <c:pt idx="6">
                  <c:v>1.7</c:v>
                </c:pt>
                <c:pt idx="7">
                  <c:v>4.0999999999999996</c:v>
                </c:pt>
                <c:pt idx="8">
                  <c:v>3.7</c:v>
                </c:pt>
                <c:pt idx="9">
                  <c:v>2.2999999999999998</c:v>
                </c:pt>
                <c:pt idx="10">
                  <c:v>1.8</c:v>
                </c:pt>
                <c:pt idx="11">
                  <c:v>2.1</c:v>
                </c:pt>
                <c:pt idx="12">
                  <c:v>1.2</c:v>
                </c:pt>
                <c:pt idx="13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94-4411-8DD1-319160B0EAB3}"/>
            </c:ext>
          </c:extLst>
        </c:ser>
        <c:ser>
          <c:idx val="2"/>
          <c:order val="2"/>
          <c:tx>
            <c:strRef>
              <c:f>Taul1!$A$4</c:f>
              <c:strCache>
                <c:ptCount val="1"/>
                <c:pt idx="0">
                  <c:v>Tuotannollinen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Taul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Taul1!$B$4:$O$4</c:f>
              <c:numCache>
                <c:formatCode>General</c:formatCode>
                <c:ptCount val="14"/>
                <c:pt idx="0">
                  <c:v>0.4</c:v>
                </c:pt>
                <c:pt idx="1">
                  <c:v>3</c:v>
                </c:pt>
                <c:pt idx="2">
                  <c:v>0.1</c:v>
                </c:pt>
                <c:pt idx="3">
                  <c:v>0.2</c:v>
                </c:pt>
                <c:pt idx="4">
                  <c:v>1.3</c:v>
                </c:pt>
                <c:pt idx="5">
                  <c:v>0.7</c:v>
                </c:pt>
                <c:pt idx="6">
                  <c:v>0.5</c:v>
                </c:pt>
                <c:pt idx="7">
                  <c:v>1.5</c:v>
                </c:pt>
                <c:pt idx="8">
                  <c:v>0.5</c:v>
                </c:pt>
                <c:pt idx="9">
                  <c:v>0.4</c:v>
                </c:pt>
                <c:pt idx="10">
                  <c:v>0.5</c:v>
                </c:pt>
                <c:pt idx="11">
                  <c:v>1</c:v>
                </c:pt>
                <c:pt idx="12">
                  <c:v>1.2</c:v>
                </c:pt>
                <c:pt idx="13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94-4411-8DD1-319160B0EAB3}"/>
            </c:ext>
          </c:extLst>
        </c:ser>
        <c:ser>
          <c:idx val="3"/>
          <c:order val="3"/>
          <c:tx>
            <c:strRef>
              <c:f>Taul1!$A$5</c:f>
              <c:strCache>
                <c:ptCount val="1"/>
                <c:pt idx="0">
                  <c:v>Asunto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numRef>
              <c:f>Taul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Taul1!$B$5:$O$5</c:f>
              <c:numCache>
                <c:formatCode>General</c:formatCode>
                <c:ptCount val="14"/>
                <c:pt idx="0">
                  <c:v>0.1</c:v>
                </c:pt>
                <c:pt idx="1">
                  <c:v>0.3</c:v>
                </c:pt>
                <c:pt idx="2">
                  <c:v>0.3</c:v>
                </c:pt>
                <c:pt idx="3">
                  <c:v>0.7</c:v>
                </c:pt>
                <c:pt idx="4">
                  <c:v>0.7</c:v>
                </c:pt>
                <c:pt idx="5">
                  <c:v>1.3</c:v>
                </c:pt>
                <c:pt idx="6">
                  <c:v>2.8</c:v>
                </c:pt>
                <c:pt idx="7">
                  <c:v>1</c:v>
                </c:pt>
                <c:pt idx="8">
                  <c:v>1.8</c:v>
                </c:pt>
                <c:pt idx="9">
                  <c:v>1.7</c:v>
                </c:pt>
                <c:pt idx="10">
                  <c:v>1.1000000000000001</c:v>
                </c:pt>
                <c:pt idx="11">
                  <c:v>2.2999999999999998</c:v>
                </c:pt>
                <c:pt idx="12">
                  <c:v>2.1</c:v>
                </c:pt>
                <c:pt idx="13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C94-4411-8DD1-319160B0EAB3}"/>
            </c:ext>
          </c:extLst>
        </c:ser>
        <c:ser>
          <c:idx val="4"/>
          <c:order val="4"/>
          <c:tx>
            <c:strRef>
              <c:f>Taul1!$A$6</c:f>
              <c:strCache>
                <c:ptCount val="1"/>
                <c:pt idx="0">
                  <c:v>Hotell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Taul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Taul1!$B$6:$O$6</c:f>
              <c:numCache>
                <c:formatCode>General</c:formatCode>
                <c:ptCount val="14"/>
                <c:pt idx="0">
                  <c:v>0.4</c:v>
                </c:pt>
                <c:pt idx="3">
                  <c:v>0.05</c:v>
                </c:pt>
                <c:pt idx="6">
                  <c:v>0.05</c:v>
                </c:pt>
                <c:pt idx="7">
                  <c:v>0.2</c:v>
                </c:pt>
                <c:pt idx="8">
                  <c:v>0.2</c:v>
                </c:pt>
                <c:pt idx="9">
                  <c:v>0.1</c:v>
                </c:pt>
                <c:pt idx="11">
                  <c:v>0.05</c:v>
                </c:pt>
                <c:pt idx="13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C94-4411-8DD1-319160B0EAB3}"/>
            </c:ext>
          </c:extLst>
        </c:ser>
        <c:ser>
          <c:idx val="5"/>
          <c:order val="5"/>
          <c:tx>
            <c:strRef>
              <c:f>Taul1!$A$7</c:f>
              <c:strCache>
                <c:ptCount val="1"/>
                <c:pt idx="0">
                  <c:v>Yhteiskuntakiinteistö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Taul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Taul1!$B$7:$O$7</c:f>
              <c:numCache>
                <c:formatCode>General</c:formatCode>
                <c:ptCount val="14"/>
                <c:pt idx="1">
                  <c:v>0.05</c:v>
                </c:pt>
                <c:pt idx="3">
                  <c:v>0.2</c:v>
                </c:pt>
                <c:pt idx="4">
                  <c:v>0.3</c:v>
                </c:pt>
                <c:pt idx="5">
                  <c:v>0.5</c:v>
                </c:pt>
                <c:pt idx="6">
                  <c:v>0.6</c:v>
                </c:pt>
                <c:pt idx="7">
                  <c:v>0.6</c:v>
                </c:pt>
                <c:pt idx="8">
                  <c:v>1</c:v>
                </c:pt>
                <c:pt idx="9">
                  <c:v>0.8</c:v>
                </c:pt>
                <c:pt idx="10">
                  <c:v>1.2</c:v>
                </c:pt>
                <c:pt idx="11">
                  <c:v>0.9</c:v>
                </c:pt>
                <c:pt idx="12">
                  <c:v>1.6</c:v>
                </c:pt>
                <c:pt idx="13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C94-4411-8DD1-319160B0EAB3}"/>
            </c:ext>
          </c:extLst>
        </c:ser>
        <c:ser>
          <c:idx val="6"/>
          <c:order val="6"/>
          <c:tx>
            <c:strRef>
              <c:f>Taul1!$A$8</c:f>
              <c:strCache>
                <c:ptCount val="1"/>
                <c:pt idx="0">
                  <c:v>Muut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Taul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Taul1!$B$8:$O$8</c:f>
              <c:numCache>
                <c:formatCode>General</c:formatCode>
                <c:ptCount val="14"/>
                <c:pt idx="1">
                  <c:v>0.05</c:v>
                </c:pt>
                <c:pt idx="2">
                  <c:v>0.1</c:v>
                </c:pt>
                <c:pt idx="3">
                  <c:v>0.1</c:v>
                </c:pt>
                <c:pt idx="4">
                  <c:v>0.3</c:v>
                </c:pt>
                <c:pt idx="5">
                  <c:v>0.1</c:v>
                </c:pt>
                <c:pt idx="6">
                  <c:v>0.1</c:v>
                </c:pt>
                <c:pt idx="7">
                  <c:v>0.1</c:v>
                </c:pt>
                <c:pt idx="8">
                  <c:v>0.1</c:v>
                </c:pt>
                <c:pt idx="9">
                  <c:v>0.1</c:v>
                </c:pt>
                <c:pt idx="10">
                  <c:v>0.1</c:v>
                </c:pt>
                <c:pt idx="1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C94-4411-8DD1-319160B0E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6"/>
        <c:overlap val="100"/>
        <c:axId val="412871408"/>
        <c:axId val="412872128"/>
      </c:barChart>
      <c:catAx>
        <c:axId val="412871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12872128"/>
        <c:crosses val="autoZero"/>
        <c:auto val="1"/>
        <c:lblAlgn val="ctr"/>
        <c:lblOffset val="100"/>
        <c:noMultiLvlLbl val="0"/>
      </c:catAx>
      <c:valAx>
        <c:axId val="412872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12871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4934353333856003"/>
          <c:w val="0.97789232531500569"/>
          <c:h val="4.78115164480684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 rtl="0">
              <a:defRPr lang="fi-FI" sz="1400" b="1" i="0" u="none" strike="noStrike" kern="1200" spc="0" baseline="0" noProof="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fi-FI" sz="1400" b="1" i="0" u="none" strike="noStrike" kern="1200" spc="0" baseline="0" noProof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Reagoinnin vasteaika on pitkä</a:t>
            </a:r>
          </a:p>
          <a:p>
            <a:pPr algn="l" rtl="0">
              <a:defRPr lang="fi-FI" b="1" noProof="0" dirty="0" smtClean="0">
                <a:solidFill>
                  <a:prstClr val="black">
                    <a:lumMod val="65000"/>
                    <a:lumOff val="35000"/>
                  </a:prstClr>
                </a:solidFill>
              </a:defRPr>
            </a:pPr>
            <a:r>
              <a:rPr lang="fi-FI" sz="1200" b="0" i="0" u="none" strike="noStrike" kern="1200" spc="0" baseline="0" noProof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Asuntorakentaminen (asuntoa, kpl</a:t>
            </a:r>
            <a:r>
              <a:rPr lang="fi-FI" sz="1400" b="1" i="0" u="none" strike="noStrike" kern="1200" spc="0" baseline="0" noProof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)</a:t>
            </a:r>
          </a:p>
        </c:rich>
      </c:tx>
      <c:layout>
        <c:manualLayout>
          <c:xMode val="edge"/>
          <c:yMode val="edge"/>
          <c:x val="1.6664530988043057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 rtl="0">
            <a:defRPr lang="fi-FI" sz="1400" b="1" i="0" u="none" strike="noStrike" kern="1200" spc="0" baseline="0" noProof="0" dirty="0" smtClean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4.5206761909022224E-2"/>
          <c:y val="0.15041235592362626"/>
          <c:w val="0.92239733994841222"/>
          <c:h val="0.70481952907358614"/>
        </c:manualLayout>
      </c:layout>
      <c:barChart>
        <c:barDir val="col"/>
        <c:grouping val="clustered"/>
        <c:varyColors val="0"/>
        <c:ser>
          <c:idx val="0"/>
          <c:order val="3"/>
          <c:tx>
            <c:strRef>
              <c:f>kappaleet!$L$3</c:f>
              <c:strCache>
                <c:ptCount val="1"/>
                <c:pt idx="0">
                  <c:v>Nostetut asuntolainat 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kappaleet!$H$40:$H$339</c:f>
              <c:numCache>
                <c:formatCode>m/d/yyyy</c:formatCode>
                <c:ptCount val="300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  <c:pt idx="195">
                  <c:v>42461</c:v>
                </c:pt>
                <c:pt idx="196">
                  <c:v>42491</c:v>
                </c:pt>
                <c:pt idx="197">
                  <c:v>42522</c:v>
                </c:pt>
                <c:pt idx="198">
                  <c:v>42552</c:v>
                </c:pt>
                <c:pt idx="199">
                  <c:v>42583</c:v>
                </c:pt>
                <c:pt idx="200">
                  <c:v>42614</c:v>
                </c:pt>
                <c:pt idx="201">
                  <c:v>42644</c:v>
                </c:pt>
                <c:pt idx="202">
                  <c:v>42675</c:v>
                </c:pt>
                <c:pt idx="203">
                  <c:v>42705</c:v>
                </c:pt>
                <c:pt idx="204">
                  <c:v>42736</c:v>
                </c:pt>
                <c:pt idx="205">
                  <c:v>42767</c:v>
                </c:pt>
                <c:pt idx="206">
                  <c:v>42795</c:v>
                </c:pt>
                <c:pt idx="207">
                  <c:v>42826</c:v>
                </c:pt>
                <c:pt idx="208">
                  <c:v>42856</c:v>
                </c:pt>
                <c:pt idx="209">
                  <c:v>42887</c:v>
                </c:pt>
                <c:pt idx="210">
                  <c:v>42917</c:v>
                </c:pt>
                <c:pt idx="211">
                  <c:v>42948</c:v>
                </c:pt>
                <c:pt idx="212">
                  <c:v>42979</c:v>
                </c:pt>
                <c:pt idx="213">
                  <c:v>43009</c:v>
                </c:pt>
                <c:pt idx="214">
                  <c:v>43040</c:v>
                </c:pt>
                <c:pt idx="215">
                  <c:v>43070</c:v>
                </c:pt>
                <c:pt idx="216">
                  <c:v>43101</c:v>
                </c:pt>
                <c:pt idx="217">
                  <c:v>43132</c:v>
                </c:pt>
                <c:pt idx="218">
                  <c:v>43160</c:v>
                </c:pt>
                <c:pt idx="219">
                  <c:v>43191</c:v>
                </c:pt>
                <c:pt idx="220">
                  <c:v>43221</c:v>
                </c:pt>
                <c:pt idx="221">
                  <c:v>43252</c:v>
                </c:pt>
                <c:pt idx="222">
                  <c:v>43282</c:v>
                </c:pt>
                <c:pt idx="223">
                  <c:v>43313</c:v>
                </c:pt>
                <c:pt idx="224">
                  <c:v>43344</c:v>
                </c:pt>
                <c:pt idx="225">
                  <c:v>43374</c:v>
                </c:pt>
                <c:pt idx="226">
                  <c:v>43405</c:v>
                </c:pt>
                <c:pt idx="227">
                  <c:v>43435</c:v>
                </c:pt>
                <c:pt idx="228">
                  <c:v>43466</c:v>
                </c:pt>
                <c:pt idx="229">
                  <c:v>43497</c:v>
                </c:pt>
                <c:pt idx="230">
                  <c:v>43525</c:v>
                </c:pt>
                <c:pt idx="231">
                  <c:v>43556</c:v>
                </c:pt>
                <c:pt idx="232">
                  <c:v>43586</c:v>
                </c:pt>
                <c:pt idx="233">
                  <c:v>43617</c:v>
                </c:pt>
                <c:pt idx="234">
                  <c:v>43647</c:v>
                </c:pt>
                <c:pt idx="235">
                  <c:v>43678</c:v>
                </c:pt>
                <c:pt idx="236">
                  <c:v>43709</c:v>
                </c:pt>
                <c:pt idx="237">
                  <c:v>43739</c:v>
                </c:pt>
                <c:pt idx="238">
                  <c:v>43770</c:v>
                </c:pt>
                <c:pt idx="239">
                  <c:v>43800</c:v>
                </c:pt>
                <c:pt idx="240">
                  <c:v>43831</c:v>
                </c:pt>
                <c:pt idx="241">
                  <c:v>43862</c:v>
                </c:pt>
                <c:pt idx="242">
                  <c:v>43891</c:v>
                </c:pt>
                <c:pt idx="243">
                  <c:v>43922</c:v>
                </c:pt>
                <c:pt idx="244">
                  <c:v>43952</c:v>
                </c:pt>
                <c:pt idx="245">
                  <c:v>43983</c:v>
                </c:pt>
                <c:pt idx="246">
                  <c:v>44013</c:v>
                </c:pt>
                <c:pt idx="247">
                  <c:v>44044</c:v>
                </c:pt>
                <c:pt idx="248">
                  <c:v>44075</c:v>
                </c:pt>
                <c:pt idx="249">
                  <c:v>44105</c:v>
                </c:pt>
                <c:pt idx="250">
                  <c:v>44136</c:v>
                </c:pt>
                <c:pt idx="251">
                  <c:v>44166</c:v>
                </c:pt>
                <c:pt idx="252">
                  <c:v>44197</c:v>
                </c:pt>
                <c:pt idx="253">
                  <c:v>44228</c:v>
                </c:pt>
                <c:pt idx="254">
                  <c:v>44256</c:v>
                </c:pt>
                <c:pt idx="255">
                  <c:v>44287</c:v>
                </c:pt>
                <c:pt idx="256">
                  <c:v>44317</c:v>
                </c:pt>
                <c:pt idx="257">
                  <c:v>44348</c:v>
                </c:pt>
                <c:pt idx="258">
                  <c:v>44378</c:v>
                </c:pt>
                <c:pt idx="259">
                  <c:v>44409</c:v>
                </c:pt>
                <c:pt idx="260">
                  <c:v>44440</c:v>
                </c:pt>
                <c:pt idx="261">
                  <c:v>44470</c:v>
                </c:pt>
                <c:pt idx="262">
                  <c:v>44501</c:v>
                </c:pt>
                <c:pt idx="263">
                  <c:v>44531</c:v>
                </c:pt>
                <c:pt idx="264">
                  <c:v>44562</c:v>
                </c:pt>
                <c:pt idx="265">
                  <c:v>44593</c:v>
                </c:pt>
                <c:pt idx="266">
                  <c:v>44621</c:v>
                </c:pt>
                <c:pt idx="267">
                  <c:v>44652</c:v>
                </c:pt>
                <c:pt idx="268">
                  <c:v>44682</c:v>
                </c:pt>
                <c:pt idx="269">
                  <c:v>44713</c:v>
                </c:pt>
                <c:pt idx="270">
                  <c:v>44743</c:v>
                </c:pt>
                <c:pt idx="271">
                  <c:v>44774</c:v>
                </c:pt>
                <c:pt idx="272">
                  <c:v>44805</c:v>
                </c:pt>
                <c:pt idx="273">
                  <c:v>44835</c:v>
                </c:pt>
                <c:pt idx="274">
                  <c:v>44866</c:v>
                </c:pt>
                <c:pt idx="275">
                  <c:v>44896</c:v>
                </c:pt>
                <c:pt idx="276">
                  <c:v>44927</c:v>
                </c:pt>
                <c:pt idx="277">
                  <c:v>44958</c:v>
                </c:pt>
                <c:pt idx="278">
                  <c:v>44986</c:v>
                </c:pt>
                <c:pt idx="279">
                  <c:v>45017</c:v>
                </c:pt>
                <c:pt idx="280">
                  <c:v>45047</c:v>
                </c:pt>
                <c:pt idx="281">
                  <c:v>45078</c:v>
                </c:pt>
                <c:pt idx="282">
                  <c:v>45108</c:v>
                </c:pt>
                <c:pt idx="283">
                  <c:v>45139</c:v>
                </c:pt>
                <c:pt idx="284">
                  <c:v>45170</c:v>
                </c:pt>
                <c:pt idx="285">
                  <c:v>45200</c:v>
                </c:pt>
                <c:pt idx="286">
                  <c:v>45231</c:v>
                </c:pt>
                <c:pt idx="287">
                  <c:v>45261</c:v>
                </c:pt>
                <c:pt idx="288">
                  <c:v>45292</c:v>
                </c:pt>
                <c:pt idx="289">
                  <c:v>45323</c:v>
                </c:pt>
                <c:pt idx="290">
                  <c:v>45352</c:v>
                </c:pt>
                <c:pt idx="291">
                  <c:v>45383</c:v>
                </c:pt>
                <c:pt idx="292">
                  <c:v>45413</c:v>
                </c:pt>
                <c:pt idx="293">
                  <c:v>45444</c:v>
                </c:pt>
                <c:pt idx="294">
                  <c:v>45474</c:v>
                </c:pt>
                <c:pt idx="295">
                  <c:v>45505</c:v>
                </c:pt>
                <c:pt idx="296">
                  <c:v>45536</c:v>
                </c:pt>
                <c:pt idx="297">
                  <c:v>45566</c:v>
                </c:pt>
                <c:pt idx="298">
                  <c:v>45597</c:v>
                </c:pt>
                <c:pt idx="299">
                  <c:v>45627</c:v>
                </c:pt>
              </c:numCache>
            </c:numRef>
          </c:cat>
          <c:val>
            <c:numRef>
              <c:f>kappaleet!$L$40:$L$339</c:f>
              <c:numCache>
                <c:formatCode>0.00</c:formatCode>
                <c:ptCount val="300"/>
                <c:pt idx="0">
                  <c:v>0.70402310594756401</c:v>
                </c:pt>
                <c:pt idx="1">
                  <c:v>0.69912486688255593</c:v>
                </c:pt>
                <c:pt idx="2">
                  <c:v>0.69204116419898698</c:v>
                </c:pt>
                <c:pt idx="3">
                  <c:v>0.684794411852924</c:v>
                </c:pt>
                <c:pt idx="4">
                  <c:v>0.6925626921467789</c:v>
                </c:pt>
                <c:pt idx="5">
                  <c:v>0.67652539515965204</c:v>
                </c:pt>
                <c:pt idx="6">
                  <c:v>0.67003115312856498</c:v>
                </c:pt>
                <c:pt idx="7">
                  <c:v>0.64296550728706092</c:v>
                </c:pt>
                <c:pt idx="8">
                  <c:v>0.64098731337436499</c:v>
                </c:pt>
                <c:pt idx="9">
                  <c:v>0.62421174863312301</c:v>
                </c:pt>
                <c:pt idx="10">
                  <c:v>0.60831121592322102</c:v>
                </c:pt>
                <c:pt idx="11">
                  <c:v>0.61603595947963408</c:v>
                </c:pt>
                <c:pt idx="12">
                  <c:v>0.55301024509836305</c:v>
                </c:pt>
                <c:pt idx="13">
                  <c:v>0.61093444880274406</c:v>
                </c:pt>
                <c:pt idx="14">
                  <c:v>0.63650919014963703</c:v>
                </c:pt>
                <c:pt idx="15">
                  <c:v>0.62489303650042405</c:v>
                </c:pt>
                <c:pt idx="16">
                  <c:v>0.60800865806108995</c:v>
                </c:pt>
                <c:pt idx="17">
                  <c:v>0.61931178297160905</c:v>
                </c:pt>
                <c:pt idx="18">
                  <c:v>0.73299013027594395</c:v>
                </c:pt>
                <c:pt idx="19">
                  <c:v>0.689736378235701</c:v>
                </c:pt>
                <c:pt idx="20">
                  <c:v>0.63703517324483705</c:v>
                </c:pt>
                <c:pt idx="21">
                  <c:v>0.65731233142234802</c:v>
                </c:pt>
                <c:pt idx="22">
                  <c:v>0.67139846688258398</c:v>
                </c:pt>
                <c:pt idx="23">
                  <c:v>0.68972968311002103</c:v>
                </c:pt>
                <c:pt idx="24">
                  <c:v>0.70914976197385393</c:v>
                </c:pt>
                <c:pt idx="25">
                  <c:v>0.72799219811661298</c:v>
                </c:pt>
                <c:pt idx="26">
                  <c:v>0.73174947473263297</c:v>
                </c:pt>
                <c:pt idx="27">
                  <c:v>0.73903174546894101</c:v>
                </c:pt>
                <c:pt idx="28">
                  <c:v>0.799569953060974</c:v>
                </c:pt>
                <c:pt idx="29">
                  <c:v>0.85197074671616002</c:v>
                </c:pt>
                <c:pt idx="30">
                  <c:v>0.83192819221631098</c:v>
                </c:pt>
                <c:pt idx="31">
                  <c:v>0.83724859973550292</c:v>
                </c:pt>
                <c:pt idx="32">
                  <c:v>0.83083909672601497</c:v>
                </c:pt>
                <c:pt idx="33">
                  <c:v>0.94140546319506802</c:v>
                </c:pt>
                <c:pt idx="34">
                  <c:v>0.91059332206780097</c:v>
                </c:pt>
                <c:pt idx="35">
                  <c:v>0.85400374266345402</c:v>
                </c:pt>
                <c:pt idx="36">
                  <c:v>0.78780148362112401</c:v>
                </c:pt>
                <c:pt idx="37">
                  <c:v>0.86768465207459</c:v>
                </c:pt>
                <c:pt idx="38">
                  <c:v>0.85875353321288894</c:v>
                </c:pt>
                <c:pt idx="39">
                  <c:v>0.89036267514599299</c:v>
                </c:pt>
                <c:pt idx="40">
                  <c:v>0.89468999297339502</c:v>
                </c:pt>
                <c:pt idx="41">
                  <c:v>0.91883221482120891</c:v>
                </c:pt>
                <c:pt idx="42">
                  <c:v>0.92517500291077404</c:v>
                </c:pt>
                <c:pt idx="43">
                  <c:v>0.99179448313916296</c:v>
                </c:pt>
                <c:pt idx="44">
                  <c:v>1.0387585581474599</c:v>
                </c:pt>
                <c:pt idx="45">
                  <c:v>1.1275530489953101</c:v>
                </c:pt>
                <c:pt idx="46">
                  <c:v>1.0511733128668601</c:v>
                </c:pt>
                <c:pt idx="47">
                  <c:v>1.0636409108399001</c:v>
                </c:pt>
                <c:pt idx="48">
                  <c:v>1.12211687557517</c:v>
                </c:pt>
                <c:pt idx="49">
                  <c:v>1.1222646297682199</c:v>
                </c:pt>
                <c:pt idx="50">
                  <c:v>1.14563315923499</c:v>
                </c:pt>
                <c:pt idx="51">
                  <c:v>1.1235208384630402</c:v>
                </c:pt>
                <c:pt idx="52">
                  <c:v>1.06907037496121</c:v>
                </c:pt>
                <c:pt idx="53">
                  <c:v>1.1010869398021199</c:v>
                </c:pt>
                <c:pt idx="54">
                  <c:v>1.15790165174149</c:v>
                </c:pt>
                <c:pt idx="55">
                  <c:v>1.1567025848879</c:v>
                </c:pt>
                <c:pt idx="56">
                  <c:v>1.2618202784329902</c:v>
                </c:pt>
                <c:pt idx="57">
                  <c:v>1.18713131911678</c:v>
                </c:pt>
                <c:pt idx="58">
                  <c:v>1.19867382873537</c:v>
                </c:pt>
                <c:pt idx="59">
                  <c:v>1.2046841698405002</c:v>
                </c:pt>
                <c:pt idx="60">
                  <c:v>1.1645704811794801</c:v>
                </c:pt>
                <c:pt idx="61">
                  <c:v>1.1419791453763399</c:v>
                </c:pt>
                <c:pt idx="62">
                  <c:v>1.16708585151356</c:v>
                </c:pt>
                <c:pt idx="63">
                  <c:v>1.22110145988673</c:v>
                </c:pt>
                <c:pt idx="64">
                  <c:v>1.2759279027240902</c:v>
                </c:pt>
                <c:pt idx="65">
                  <c:v>1.35667801131341</c:v>
                </c:pt>
                <c:pt idx="66">
                  <c:v>1.3303844414725499</c:v>
                </c:pt>
                <c:pt idx="67">
                  <c:v>1.3794616482908699</c:v>
                </c:pt>
                <c:pt idx="68">
                  <c:v>1.46203779084495</c:v>
                </c:pt>
                <c:pt idx="69">
                  <c:v>1.5017809274760499</c:v>
                </c:pt>
                <c:pt idx="70">
                  <c:v>1.5789099247599001</c:v>
                </c:pt>
                <c:pt idx="71">
                  <c:v>1.56618052447281</c:v>
                </c:pt>
                <c:pt idx="72">
                  <c:v>1.5429754610267201</c:v>
                </c:pt>
                <c:pt idx="73">
                  <c:v>1.6415892120143099</c:v>
                </c:pt>
                <c:pt idx="74">
                  <c:v>1.60392406549608</c:v>
                </c:pt>
                <c:pt idx="75">
                  <c:v>1.6256237865635499</c:v>
                </c:pt>
                <c:pt idx="76">
                  <c:v>1.5929624133839699</c:v>
                </c:pt>
                <c:pt idx="77">
                  <c:v>1.5798263504904499</c:v>
                </c:pt>
                <c:pt idx="78">
                  <c:v>1.5549515977313699</c:v>
                </c:pt>
                <c:pt idx="79">
                  <c:v>1.4678194014897699</c:v>
                </c:pt>
                <c:pt idx="80">
                  <c:v>1.4860886300226701</c:v>
                </c:pt>
                <c:pt idx="81">
                  <c:v>1.5088643010737199</c:v>
                </c:pt>
                <c:pt idx="82">
                  <c:v>1.46718431376805</c:v>
                </c:pt>
                <c:pt idx="83">
                  <c:v>1.5479052688592898</c:v>
                </c:pt>
                <c:pt idx="84">
                  <c:v>1.64753498854488</c:v>
                </c:pt>
                <c:pt idx="85">
                  <c:v>1.6379923460574801</c:v>
                </c:pt>
                <c:pt idx="86">
                  <c:v>1.72741401308105</c:v>
                </c:pt>
                <c:pt idx="87">
                  <c:v>1.7736007534193001</c:v>
                </c:pt>
                <c:pt idx="88">
                  <c:v>1.78467301780231</c:v>
                </c:pt>
                <c:pt idx="89">
                  <c:v>1.74961375203686</c:v>
                </c:pt>
                <c:pt idx="90">
                  <c:v>1.8365328109976899</c:v>
                </c:pt>
                <c:pt idx="91">
                  <c:v>1.8428624004872101</c:v>
                </c:pt>
                <c:pt idx="92">
                  <c:v>1.71658093937249</c:v>
                </c:pt>
                <c:pt idx="93">
                  <c:v>1.7651405159561</c:v>
                </c:pt>
                <c:pt idx="94">
                  <c:v>1.7308076768985701</c:v>
                </c:pt>
                <c:pt idx="95">
                  <c:v>1.73766057602623</c:v>
                </c:pt>
                <c:pt idx="96">
                  <c:v>1.7392200117049501</c:v>
                </c:pt>
                <c:pt idx="97">
                  <c:v>1.78688177374783</c:v>
                </c:pt>
                <c:pt idx="98">
                  <c:v>1.79687907249601</c:v>
                </c:pt>
                <c:pt idx="99">
                  <c:v>1.75505014448913</c:v>
                </c:pt>
                <c:pt idx="100">
                  <c:v>1.7510630443992701</c:v>
                </c:pt>
                <c:pt idx="101">
                  <c:v>1.75173171368328</c:v>
                </c:pt>
                <c:pt idx="102">
                  <c:v>1.6571835105314501</c:v>
                </c:pt>
                <c:pt idx="103">
                  <c:v>1.85923780731254</c:v>
                </c:pt>
                <c:pt idx="104">
                  <c:v>1.8362123754166901</c:v>
                </c:pt>
                <c:pt idx="105">
                  <c:v>1.8234293511849999</c:v>
                </c:pt>
                <c:pt idx="106">
                  <c:v>1.94144050500011</c:v>
                </c:pt>
                <c:pt idx="107">
                  <c:v>1.9084086612400502</c:v>
                </c:pt>
                <c:pt idx="108">
                  <c:v>1.8478800183528499</c:v>
                </c:pt>
                <c:pt idx="109">
                  <c:v>1.7129492575452199</c:v>
                </c:pt>
                <c:pt idx="110">
                  <c:v>1.6736932501389401</c:v>
                </c:pt>
                <c:pt idx="111">
                  <c:v>1.59630621971769</c:v>
                </c:pt>
                <c:pt idx="112">
                  <c:v>1.17087630432103</c:v>
                </c:pt>
                <c:pt idx="113">
                  <c:v>1.1568467455091</c:v>
                </c:pt>
                <c:pt idx="114">
                  <c:v>1.2161964367219</c:v>
                </c:pt>
                <c:pt idx="115">
                  <c:v>1.31345786277252</c:v>
                </c:pt>
                <c:pt idx="116">
                  <c:v>1.40168731829335</c:v>
                </c:pt>
                <c:pt idx="117">
                  <c:v>1.3691367545138899</c:v>
                </c:pt>
                <c:pt idx="118">
                  <c:v>1.3310033668713601</c:v>
                </c:pt>
                <c:pt idx="119">
                  <c:v>1.2538353895590502</c:v>
                </c:pt>
                <c:pt idx="120">
                  <c:v>1.24730008613534</c:v>
                </c:pt>
                <c:pt idx="121">
                  <c:v>1.2996475529781</c:v>
                </c:pt>
                <c:pt idx="122">
                  <c:v>1.2954837284262399</c:v>
                </c:pt>
                <c:pt idx="123">
                  <c:v>1.37177062468184</c:v>
                </c:pt>
                <c:pt idx="124">
                  <c:v>1.3952223642842501</c:v>
                </c:pt>
                <c:pt idx="125">
                  <c:v>1.4469466877622199</c:v>
                </c:pt>
                <c:pt idx="126">
                  <c:v>1.3956356365298299</c:v>
                </c:pt>
                <c:pt idx="127">
                  <c:v>1.3792345731054598</c:v>
                </c:pt>
                <c:pt idx="128">
                  <c:v>1.46914484269506</c:v>
                </c:pt>
                <c:pt idx="129">
                  <c:v>1.44283352311888</c:v>
                </c:pt>
                <c:pt idx="130">
                  <c:v>1.40550570474079</c:v>
                </c:pt>
                <c:pt idx="131">
                  <c:v>1.5231650813075399</c:v>
                </c:pt>
                <c:pt idx="132">
                  <c:v>1.60308306725978</c:v>
                </c:pt>
                <c:pt idx="133">
                  <c:v>1.5576129522334801</c:v>
                </c:pt>
                <c:pt idx="134">
                  <c:v>1.49373286768819</c:v>
                </c:pt>
                <c:pt idx="135">
                  <c:v>1.61555079737512</c:v>
                </c:pt>
                <c:pt idx="136">
                  <c:v>1.6872121830970199</c:v>
                </c:pt>
                <c:pt idx="137">
                  <c:v>1.67077109514537</c:v>
                </c:pt>
                <c:pt idx="138">
                  <c:v>1.6219377972193401</c:v>
                </c:pt>
                <c:pt idx="139">
                  <c:v>1.60461245309186</c:v>
                </c:pt>
                <c:pt idx="140">
                  <c:v>1.6056942797979199</c:v>
                </c:pt>
                <c:pt idx="141">
                  <c:v>1.6051548622220999</c:v>
                </c:pt>
                <c:pt idx="142">
                  <c:v>1.6067661921979799</c:v>
                </c:pt>
                <c:pt idx="143">
                  <c:v>1.6894759317294399</c:v>
                </c:pt>
                <c:pt idx="144">
                  <c:v>1.6233278622940599</c:v>
                </c:pt>
                <c:pt idx="145">
                  <c:v>1.7752412770189299</c:v>
                </c:pt>
                <c:pt idx="146">
                  <c:v>1.72384871628333</c:v>
                </c:pt>
                <c:pt idx="147">
                  <c:v>1.68243828449619</c:v>
                </c:pt>
                <c:pt idx="148">
                  <c:v>1.69455094423138</c:v>
                </c:pt>
                <c:pt idx="149">
                  <c:v>1.63718163029276</c:v>
                </c:pt>
                <c:pt idx="150">
                  <c:v>1.7689325752382701</c:v>
                </c:pt>
                <c:pt idx="151">
                  <c:v>1.6218051510134002</c:v>
                </c:pt>
                <c:pt idx="152">
                  <c:v>1.5005173665745899</c:v>
                </c:pt>
                <c:pt idx="153">
                  <c:v>1.59439765378251</c:v>
                </c:pt>
                <c:pt idx="154">
                  <c:v>1.6236987934162801</c:v>
                </c:pt>
                <c:pt idx="155">
                  <c:v>1.6527671130678401</c:v>
                </c:pt>
                <c:pt idx="156">
                  <c:v>1.6357926241648699</c:v>
                </c:pt>
                <c:pt idx="157">
                  <c:v>1.5879182305380299</c:v>
                </c:pt>
                <c:pt idx="158">
                  <c:v>1.6229424010612499</c:v>
                </c:pt>
                <c:pt idx="159">
                  <c:v>1.59187168740678</c:v>
                </c:pt>
                <c:pt idx="160">
                  <c:v>1.5044667607446598</c:v>
                </c:pt>
                <c:pt idx="161">
                  <c:v>1.51446744660706</c:v>
                </c:pt>
                <c:pt idx="162">
                  <c:v>1.4905807417727699</c:v>
                </c:pt>
                <c:pt idx="163">
                  <c:v>1.40905010788635</c:v>
                </c:pt>
                <c:pt idx="164">
                  <c:v>1.40802469697732</c:v>
                </c:pt>
                <c:pt idx="165">
                  <c:v>1.34018077015048</c:v>
                </c:pt>
                <c:pt idx="166">
                  <c:v>1.2678622227467402</c:v>
                </c:pt>
                <c:pt idx="167">
                  <c:v>1.2312049465417398</c:v>
                </c:pt>
                <c:pt idx="168">
                  <c:v>1.2518667352460999</c:v>
                </c:pt>
                <c:pt idx="169">
                  <c:v>1.2865210792144599</c:v>
                </c:pt>
                <c:pt idx="170">
                  <c:v>1.27332408492112</c:v>
                </c:pt>
                <c:pt idx="171">
                  <c:v>1.3065666614437002</c:v>
                </c:pt>
                <c:pt idx="172">
                  <c:v>1.22621721420626</c:v>
                </c:pt>
                <c:pt idx="173">
                  <c:v>1.2047964829481599</c:v>
                </c:pt>
                <c:pt idx="174">
                  <c:v>1.1934236890693901</c:v>
                </c:pt>
                <c:pt idx="175">
                  <c:v>1.27397249806357</c:v>
                </c:pt>
                <c:pt idx="176">
                  <c:v>1.17112008045189</c:v>
                </c:pt>
                <c:pt idx="177">
                  <c:v>1.17442859372595</c:v>
                </c:pt>
                <c:pt idx="178">
                  <c:v>1.2344742599890599</c:v>
                </c:pt>
                <c:pt idx="179">
                  <c:v>1.2075212685566499</c:v>
                </c:pt>
                <c:pt idx="180">
                  <c:v>1.2655725596484202</c:v>
                </c:pt>
                <c:pt idx="181">
                  <c:v>1.26929451613449</c:v>
                </c:pt>
                <c:pt idx="182">
                  <c:v>1.2636299096227901</c:v>
                </c:pt>
                <c:pt idx="183">
                  <c:v>1.2800679290119199</c:v>
                </c:pt>
                <c:pt idx="184">
                  <c:v>1.2882138484149102</c:v>
                </c:pt>
                <c:pt idx="185">
                  <c:v>1.2876323526550499</c:v>
                </c:pt>
                <c:pt idx="186">
                  <c:v>1.3189395318083301</c:v>
                </c:pt>
                <c:pt idx="187">
                  <c:v>1.25906676739199</c:v>
                </c:pt>
                <c:pt idx="188">
                  <c:v>1.3248871321243201</c:v>
                </c:pt>
                <c:pt idx="189">
                  <c:v>1.40787931591921</c:v>
                </c:pt>
                <c:pt idx="190">
                  <c:v>1.4006456716931199</c:v>
                </c:pt>
                <c:pt idx="191">
                  <c:v>1.37288844463832</c:v>
                </c:pt>
                <c:pt idx="192">
                  <c:v>1.3505611060654499</c:v>
                </c:pt>
                <c:pt idx="193">
                  <c:v>1.3126853779237699</c:v>
                </c:pt>
                <c:pt idx="194">
                  <c:v>1.32499274754876</c:v>
                </c:pt>
                <c:pt idx="195">
                  <c:v>1.3303493680916501</c:v>
                </c:pt>
                <c:pt idx="196">
                  <c:v>1.3983776231782301</c:v>
                </c:pt>
                <c:pt idx="197">
                  <c:v>1.4592827851118499</c:v>
                </c:pt>
                <c:pt idx="198">
                  <c:v>1.4822136193411399</c:v>
                </c:pt>
                <c:pt idx="199">
                  <c:v>1.4283085584103201</c:v>
                </c:pt>
                <c:pt idx="200">
                  <c:v>1.4916631942448202</c:v>
                </c:pt>
                <c:pt idx="201">
                  <c:v>1.49631238779142</c:v>
                </c:pt>
                <c:pt idx="202">
                  <c:v>1.5298385589557801</c:v>
                </c:pt>
                <c:pt idx="203">
                  <c:v>1.5341493431225299</c:v>
                </c:pt>
                <c:pt idx="204">
                  <c:v>1.5205956246949699</c:v>
                </c:pt>
                <c:pt idx="205">
                  <c:v>1.5085619354409598</c:v>
                </c:pt>
                <c:pt idx="206">
                  <c:v>1.4406831512854901</c:v>
                </c:pt>
                <c:pt idx="207">
                  <c:v>1.47637290800008</c:v>
                </c:pt>
                <c:pt idx="208">
                  <c:v>1.46729759527694</c:v>
                </c:pt>
                <c:pt idx="209">
                  <c:v>1.4795479950649599</c:v>
                </c:pt>
                <c:pt idx="210">
                  <c:v>1.52592575999228</c:v>
                </c:pt>
                <c:pt idx="211">
                  <c:v>1.5146206507261601</c:v>
                </c:pt>
                <c:pt idx="212">
                  <c:v>1.5078801564545401</c:v>
                </c:pt>
                <c:pt idx="213">
                  <c:v>1.45892771682149</c:v>
                </c:pt>
                <c:pt idx="214">
                  <c:v>1.42297532753929</c:v>
                </c:pt>
                <c:pt idx="215">
                  <c:v>1.4625090681352799</c:v>
                </c:pt>
                <c:pt idx="216">
                  <c:v>1.46988729510075</c:v>
                </c:pt>
                <c:pt idx="217">
                  <c:v>1.4723732522604001</c:v>
                </c:pt>
                <c:pt idx="218">
                  <c:v>1.6038792503749499</c:v>
                </c:pt>
                <c:pt idx="219">
                  <c:v>1.52242880447676</c:v>
                </c:pt>
                <c:pt idx="220">
                  <c:v>1.50220696835788</c:v>
                </c:pt>
                <c:pt idx="221">
                  <c:v>1.5088253706972898</c:v>
                </c:pt>
                <c:pt idx="222">
                  <c:v>1.5015468109402001</c:v>
                </c:pt>
                <c:pt idx="223">
                  <c:v>1.6133808962901699</c:v>
                </c:pt>
                <c:pt idx="224">
                  <c:v>1.5162257555142</c:v>
                </c:pt>
                <c:pt idx="225">
                  <c:v>1.60378327407354</c:v>
                </c:pt>
                <c:pt idx="226">
                  <c:v>1.5982532309478499</c:v>
                </c:pt>
                <c:pt idx="227">
                  <c:v>1.52263739930612</c:v>
                </c:pt>
                <c:pt idx="228">
                  <c:v>1.5322614293763699</c:v>
                </c:pt>
                <c:pt idx="229">
                  <c:v>1.53466214013608</c:v>
                </c:pt>
                <c:pt idx="230">
                  <c:v>1.52423332476017</c:v>
                </c:pt>
                <c:pt idx="231">
                  <c:v>1.53235699456767</c:v>
                </c:pt>
                <c:pt idx="232">
                  <c:v>1.5670784134990798</c:v>
                </c:pt>
                <c:pt idx="233">
                  <c:v>1.50919413542643</c:v>
                </c:pt>
                <c:pt idx="234">
                  <c:v>1.4435968771312202</c:v>
                </c:pt>
                <c:pt idx="235">
                  <c:v>1.57529826161465</c:v>
                </c:pt>
                <c:pt idx="236">
                  <c:v>1.48791917445943</c:v>
                </c:pt>
                <c:pt idx="237">
                  <c:v>1.4666871263994301</c:v>
                </c:pt>
                <c:pt idx="238">
                  <c:v>1.5984511091156699</c:v>
                </c:pt>
                <c:pt idx="239">
                  <c:v>1.6280424321189402</c:v>
                </c:pt>
                <c:pt idx="240">
                  <c:v>1.6645708980560801</c:v>
                </c:pt>
                <c:pt idx="241">
                  <c:v>1.69399266870276</c:v>
                </c:pt>
                <c:pt idx="242">
                  <c:v>1.6827820144130801</c:v>
                </c:pt>
                <c:pt idx="243">
                  <c:v>1.69465344655039</c:v>
                </c:pt>
                <c:pt idx="244">
                  <c:v>1.68610915855536</c:v>
                </c:pt>
                <c:pt idx="245">
                  <c:v>1.66443320771079</c:v>
                </c:pt>
                <c:pt idx="246">
                  <c:v>1.61850422116001</c:v>
                </c:pt>
                <c:pt idx="247">
                  <c:v>1.6377743648524798</c:v>
                </c:pt>
                <c:pt idx="248">
                  <c:v>1.72960015684427</c:v>
                </c:pt>
                <c:pt idx="249">
                  <c:v>1.6082907221017799</c:v>
                </c:pt>
                <c:pt idx="250">
                  <c:v>1.4051158398357302</c:v>
                </c:pt>
                <c:pt idx="251">
                  <c:v>1.4159881191858499</c:v>
                </c:pt>
                <c:pt idx="252">
                  <c:v>1.5887084659549602</c:v>
                </c:pt>
                <c:pt idx="253">
                  <c:v>1.6883878936685399</c:v>
                </c:pt>
                <c:pt idx="254">
                  <c:v>1.7417455040646199</c:v>
                </c:pt>
                <c:pt idx="255">
                  <c:v>1.7573849967270401</c:v>
                </c:pt>
                <c:pt idx="256">
                  <c:v>1.8342664807956399</c:v>
                </c:pt>
                <c:pt idx="257">
                  <c:v>1.8807118151545998</c:v>
                </c:pt>
                <c:pt idx="258">
                  <c:v>2.06222237394726</c:v>
                </c:pt>
                <c:pt idx="259">
                  <c:v>1.8844286370771</c:v>
                </c:pt>
                <c:pt idx="260">
                  <c:v>1.9972071902633199</c:v>
                </c:pt>
                <c:pt idx="261">
                  <c:v>1.91867702299543</c:v>
                </c:pt>
                <c:pt idx="262">
                  <c:v>1.86056447247015</c:v>
                </c:pt>
                <c:pt idx="263">
                  <c:v>1.9126389398685399</c:v>
                </c:pt>
                <c:pt idx="264">
                  <c:v>1.85828564600372</c:v>
                </c:pt>
                <c:pt idx="265">
                  <c:v>1.8369122135906899</c:v>
                </c:pt>
                <c:pt idx="266">
                  <c:v>1.78123424096154</c:v>
                </c:pt>
                <c:pt idx="267">
                  <c:v>1.85314179930073</c:v>
                </c:pt>
                <c:pt idx="268">
                  <c:v>1.8762752788741901</c:v>
                </c:pt>
                <c:pt idx="269">
                  <c:v>1.86588254112973</c:v>
                </c:pt>
                <c:pt idx="270">
                  <c:v>1.90762364462765</c:v>
                </c:pt>
                <c:pt idx="271">
                  <c:v>1.8822523404246099</c:v>
                </c:pt>
                <c:pt idx="272">
                  <c:v>1.90238061270504</c:v>
                </c:pt>
                <c:pt idx="273">
                  <c:v>1.7613151296949601</c:v>
                </c:pt>
                <c:pt idx="274">
                  <c:v>1.7019359727423999</c:v>
                </c:pt>
                <c:pt idx="275">
                  <c:v>1.6809046621316399</c:v>
                </c:pt>
                <c:pt idx="276">
                  <c:v>1.6296903803215401</c:v>
                </c:pt>
                <c:pt idx="277">
                  <c:v>1.5154123753152999</c:v>
                </c:pt>
                <c:pt idx="278">
                  <c:v>1.4556106870545</c:v>
                </c:pt>
                <c:pt idx="279">
                  <c:v>1.4533546369772401</c:v>
                </c:pt>
                <c:pt idx="280">
                  <c:v>1.2360896951076901</c:v>
                </c:pt>
                <c:pt idx="281">
                  <c:v>1.12391004816607</c:v>
                </c:pt>
                <c:pt idx="282">
                  <c:v>1.16212221330078</c:v>
                </c:pt>
                <c:pt idx="283">
                  <c:v>1.09181609557416</c:v>
                </c:pt>
                <c:pt idx="284">
                  <c:v>1.0786312723689699</c:v>
                </c:pt>
                <c:pt idx="285">
                  <c:v>1.1107588735592799</c:v>
                </c:pt>
                <c:pt idx="286">
                  <c:v>1.1179936048194798</c:v>
                </c:pt>
                <c:pt idx="287">
                  <c:v>1.0755208636196401</c:v>
                </c:pt>
                <c:pt idx="288">
                  <c:v>1.0850023491999199</c:v>
                </c:pt>
                <c:pt idx="289">
                  <c:v>1.07777514891366</c:v>
                </c:pt>
                <c:pt idx="290">
                  <c:v>1.1108865350178101</c:v>
                </c:pt>
                <c:pt idx="291">
                  <c:v>1.0755968491792101</c:v>
                </c:pt>
                <c:pt idx="292">
                  <c:v>1.0673484227588599</c:v>
                </c:pt>
                <c:pt idx="293">
                  <c:v>1.17083426740094</c:v>
                </c:pt>
                <c:pt idx="294">
                  <c:v>1.55520668788491</c:v>
                </c:pt>
                <c:pt idx="295">
                  <c:v>1.0316479765935</c:v>
                </c:pt>
                <c:pt idx="296">
                  <c:v>0.99918170510895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AE-43A6-990A-DB5A2430D1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"/>
        <c:axId val="1170010736"/>
        <c:axId val="1170012896"/>
      </c:barChart>
      <c:lineChart>
        <c:grouping val="standard"/>
        <c:varyColors val="0"/>
        <c:ser>
          <c:idx val="1"/>
          <c:order val="0"/>
          <c:tx>
            <c:strRef>
              <c:f>kappaleet!$I$3</c:f>
              <c:strCache>
                <c:ptCount val="1"/>
                <c:pt idx="0">
                  <c:v>Luva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kappaleet!$H$40:$H$339</c:f>
              <c:numCache>
                <c:formatCode>m/d/yyyy</c:formatCode>
                <c:ptCount val="300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  <c:pt idx="195">
                  <c:v>42461</c:v>
                </c:pt>
                <c:pt idx="196">
                  <c:v>42491</c:v>
                </c:pt>
                <c:pt idx="197">
                  <c:v>42522</c:v>
                </c:pt>
                <c:pt idx="198">
                  <c:v>42552</c:v>
                </c:pt>
                <c:pt idx="199">
                  <c:v>42583</c:v>
                </c:pt>
                <c:pt idx="200">
                  <c:v>42614</c:v>
                </c:pt>
                <c:pt idx="201">
                  <c:v>42644</c:v>
                </c:pt>
                <c:pt idx="202">
                  <c:v>42675</c:v>
                </c:pt>
                <c:pt idx="203">
                  <c:v>42705</c:v>
                </c:pt>
                <c:pt idx="204">
                  <c:v>42736</c:v>
                </c:pt>
                <c:pt idx="205">
                  <c:v>42767</c:v>
                </c:pt>
                <c:pt idx="206">
                  <c:v>42795</c:v>
                </c:pt>
                <c:pt idx="207">
                  <c:v>42826</c:v>
                </c:pt>
                <c:pt idx="208">
                  <c:v>42856</c:v>
                </c:pt>
                <c:pt idx="209">
                  <c:v>42887</c:v>
                </c:pt>
                <c:pt idx="210">
                  <c:v>42917</c:v>
                </c:pt>
                <c:pt idx="211">
                  <c:v>42948</c:v>
                </c:pt>
                <c:pt idx="212">
                  <c:v>42979</c:v>
                </c:pt>
                <c:pt idx="213">
                  <c:v>43009</c:v>
                </c:pt>
                <c:pt idx="214">
                  <c:v>43040</c:v>
                </c:pt>
                <c:pt idx="215">
                  <c:v>43070</c:v>
                </c:pt>
                <c:pt idx="216">
                  <c:v>43101</c:v>
                </c:pt>
                <c:pt idx="217">
                  <c:v>43132</c:v>
                </c:pt>
                <c:pt idx="218">
                  <c:v>43160</c:v>
                </c:pt>
                <c:pt idx="219">
                  <c:v>43191</c:v>
                </c:pt>
                <c:pt idx="220">
                  <c:v>43221</c:v>
                </c:pt>
                <c:pt idx="221">
                  <c:v>43252</c:v>
                </c:pt>
                <c:pt idx="222">
                  <c:v>43282</c:v>
                </c:pt>
                <c:pt idx="223">
                  <c:v>43313</c:v>
                </c:pt>
                <c:pt idx="224">
                  <c:v>43344</c:v>
                </c:pt>
                <c:pt idx="225">
                  <c:v>43374</c:v>
                </c:pt>
                <c:pt idx="226">
                  <c:v>43405</c:v>
                </c:pt>
                <c:pt idx="227">
                  <c:v>43435</c:v>
                </c:pt>
                <c:pt idx="228">
                  <c:v>43466</c:v>
                </c:pt>
                <c:pt idx="229">
                  <c:v>43497</c:v>
                </c:pt>
                <c:pt idx="230">
                  <c:v>43525</c:v>
                </c:pt>
                <c:pt idx="231">
                  <c:v>43556</c:v>
                </c:pt>
                <c:pt idx="232">
                  <c:v>43586</c:v>
                </c:pt>
                <c:pt idx="233">
                  <c:v>43617</c:v>
                </c:pt>
                <c:pt idx="234">
                  <c:v>43647</c:v>
                </c:pt>
                <c:pt idx="235">
                  <c:v>43678</c:v>
                </c:pt>
                <c:pt idx="236">
                  <c:v>43709</c:v>
                </c:pt>
                <c:pt idx="237">
                  <c:v>43739</c:v>
                </c:pt>
                <c:pt idx="238">
                  <c:v>43770</c:v>
                </c:pt>
                <c:pt idx="239">
                  <c:v>43800</c:v>
                </c:pt>
                <c:pt idx="240">
                  <c:v>43831</c:v>
                </c:pt>
                <c:pt idx="241">
                  <c:v>43862</c:v>
                </c:pt>
                <c:pt idx="242">
                  <c:v>43891</c:v>
                </c:pt>
                <c:pt idx="243">
                  <c:v>43922</c:v>
                </c:pt>
                <c:pt idx="244">
                  <c:v>43952</c:v>
                </c:pt>
                <c:pt idx="245">
                  <c:v>43983</c:v>
                </c:pt>
                <c:pt idx="246">
                  <c:v>44013</c:v>
                </c:pt>
                <c:pt idx="247">
                  <c:v>44044</c:v>
                </c:pt>
                <c:pt idx="248">
                  <c:v>44075</c:v>
                </c:pt>
                <c:pt idx="249">
                  <c:v>44105</c:v>
                </c:pt>
                <c:pt idx="250">
                  <c:v>44136</c:v>
                </c:pt>
                <c:pt idx="251">
                  <c:v>44166</c:v>
                </c:pt>
                <c:pt idx="252">
                  <c:v>44197</c:v>
                </c:pt>
                <c:pt idx="253">
                  <c:v>44228</c:v>
                </c:pt>
                <c:pt idx="254">
                  <c:v>44256</c:v>
                </c:pt>
                <c:pt idx="255">
                  <c:v>44287</c:v>
                </c:pt>
                <c:pt idx="256">
                  <c:v>44317</c:v>
                </c:pt>
                <c:pt idx="257">
                  <c:v>44348</c:v>
                </c:pt>
                <c:pt idx="258">
                  <c:v>44378</c:v>
                </c:pt>
                <c:pt idx="259">
                  <c:v>44409</c:v>
                </c:pt>
                <c:pt idx="260">
                  <c:v>44440</c:v>
                </c:pt>
                <c:pt idx="261">
                  <c:v>44470</c:v>
                </c:pt>
                <c:pt idx="262">
                  <c:v>44501</c:v>
                </c:pt>
                <c:pt idx="263">
                  <c:v>44531</c:v>
                </c:pt>
                <c:pt idx="264">
                  <c:v>44562</c:v>
                </c:pt>
                <c:pt idx="265">
                  <c:v>44593</c:v>
                </c:pt>
                <c:pt idx="266">
                  <c:v>44621</c:v>
                </c:pt>
                <c:pt idx="267">
                  <c:v>44652</c:v>
                </c:pt>
                <c:pt idx="268">
                  <c:v>44682</c:v>
                </c:pt>
                <c:pt idx="269">
                  <c:v>44713</c:v>
                </c:pt>
                <c:pt idx="270">
                  <c:v>44743</c:v>
                </c:pt>
                <c:pt idx="271">
                  <c:v>44774</c:v>
                </c:pt>
                <c:pt idx="272">
                  <c:v>44805</c:v>
                </c:pt>
                <c:pt idx="273">
                  <c:v>44835</c:v>
                </c:pt>
                <c:pt idx="274">
                  <c:v>44866</c:v>
                </c:pt>
                <c:pt idx="275">
                  <c:v>44896</c:v>
                </c:pt>
                <c:pt idx="276">
                  <c:v>44927</c:v>
                </c:pt>
                <c:pt idx="277">
                  <c:v>44958</c:v>
                </c:pt>
                <c:pt idx="278">
                  <c:v>44986</c:v>
                </c:pt>
                <c:pt idx="279">
                  <c:v>45017</c:v>
                </c:pt>
                <c:pt idx="280">
                  <c:v>45047</c:v>
                </c:pt>
                <c:pt idx="281">
                  <c:v>45078</c:v>
                </c:pt>
                <c:pt idx="282">
                  <c:v>45108</c:v>
                </c:pt>
                <c:pt idx="283">
                  <c:v>45139</c:v>
                </c:pt>
                <c:pt idx="284">
                  <c:v>45170</c:v>
                </c:pt>
                <c:pt idx="285">
                  <c:v>45200</c:v>
                </c:pt>
                <c:pt idx="286">
                  <c:v>45231</c:v>
                </c:pt>
                <c:pt idx="287">
                  <c:v>45261</c:v>
                </c:pt>
                <c:pt idx="288">
                  <c:v>45292</c:v>
                </c:pt>
                <c:pt idx="289">
                  <c:v>45323</c:v>
                </c:pt>
                <c:pt idx="290">
                  <c:v>45352</c:v>
                </c:pt>
                <c:pt idx="291">
                  <c:v>45383</c:v>
                </c:pt>
                <c:pt idx="292">
                  <c:v>45413</c:v>
                </c:pt>
                <c:pt idx="293">
                  <c:v>45444</c:v>
                </c:pt>
                <c:pt idx="294">
                  <c:v>45474</c:v>
                </c:pt>
                <c:pt idx="295">
                  <c:v>45505</c:v>
                </c:pt>
                <c:pt idx="296">
                  <c:v>45536</c:v>
                </c:pt>
                <c:pt idx="297">
                  <c:v>45566</c:v>
                </c:pt>
                <c:pt idx="298">
                  <c:v>45597</c:v>
                </c:pt>
                <c:pt idx="299">
                  <c:v>45627</c:v>
                </c:pt>
              </c:numCache>
            </c:numRef>
          </c:cat>
          <c:val>
            <c:numRef>
              <c:f>kappaleet!$I$40:$I$339</c:f>
              <c:numCache>
                <c:formatCode>0</c:formatCode>
                <c:ptCount val="300"/>
                <c:pt idx="0">
                  <c:v>38098</c:v>
                </c:pt>
                <c:pt idx="1">
                  <c:v>38792</c:v>
                </c:pt>
                <c:pt idx="2">
                  <c:v>39147</c:v>
                </c:pt>
                <c:pt idx="3">
                  <c:v>39124</c:v>
                </c:pt>
                <c:pt idx="4">
                  <c:v>39472</c:v>
                </c:pt>
                <c:pt idx="5">
                  <c:v>39312</c:v>
                </c:pt>
                <c:pt idx="6">
                  <c:v>38395</c:v>
                </c:pt>
                <c:pt idx="7">
                  <c:v>38407</c:v>
                </c:pt>
                <c:pt idx="8">
                  <c:v>36365</c:v>
                </c:pt>
                <c:pt idx="9">
                  <c:v>35780</c:v>
                </c:pt>
                <c:pt idx="10">
                  <c:v>35424</c:v>
                </c:pt>
                <c:pt idx="11">
                  <c:v>34983</c:v>
                </c:pt>
                <c:pt idx="12">
                  <c:v>33820</c:v>
                </c:pt>
                <c:pt idx="13">
                  <c:v>32980</c:v>
                </c:pt>
                <c:pt idx="14">
                  <c:v>31855</c:v>
                </c:pt>
                <c:pt idx="15">
                  <c:v>30544</c:v>
                </c:pt>
                <c:pt idx="16">
                  <c:v>30519</c:v>
                </c:pt>
                <c:pt idx="17">
                  <c:v>29168</c:v>
                </c:pt>
                <c:pt idx="18">
                  <c:v>29151</c:v>
                </c:pt>
                <c:pt idx="19">
                  <c:v>29146</c:v>
                </c:pt>
                <c:pt idx="20">
                  <c:v>30079</c:v>
                </c:pt>
                <c:pt idx="21">
                  <c:v>30086</c:v>
                </c:pt>
                <c:pt idx="22">
                  <c:v>29531</c:v>
                </c:pt>
                <c:pt idx="23">
                  <c:v>29346</c:v>
                </c:pt>
                <c:pt idx="24">
                  <c:v>29375</c:v>
                </c:pt>
                <c:pt idx="25">
                  <c:v>29023</c:v>
                </c:pt>
                <c:pt idx="26">
                  <c:v>29367</c:v>
                </c:pt>
                <c:pt idx="27">
                  <c:v>30224</c:v>
                </c:pt>
                <c:pt idx="28">
                  <c:v>29632</c:v>
                </c:pt>
                <c:pt idx="29">
                  <c:v>29814</c:v>
                </c:pt>
                <c:pt idx="30">
                  <c:v>30286</c:v>
                </c:pt>
                <c:pt idx="31">
                  <c:v>30343</c:v>
                </c:pt>
                <c:pt idx="32">
                  <c:v>29631</c:v>
                </c:pt>
                <c:pt idx="33">
                  <c:v>29858</c:v>
                </c:pt>
                <c:pt idx="34">
                  <c:v>30268</c:v>
                </c:pt>
                <c:pt idx="35">
                  <c:v>30194</c:v>
                </c:pt>
                <c:pt idx="36">
                  <c:v>30070</c:v>
                </c:pt>
                <c:pt idx="37">
                  <c:v>30146</c:v>
                </c:pt>
                <c:pt idx="38">
                  <c:v>30341</c:v>
                </c:pt>
                <c:pt idx="39">
                  <c:v>31002</c:v>
                </c:pt>
                <c:pt idx="40">
                  <c:v>31635</c:v>
                </c:pt>
                <c:pt idx="41">
                  <c:v>32611</c:v>
                </c:pt>
                <c:pt idx="42">
                  <c:v>33344</c:v>
                </c:pt>
                <c:pt idx="43">
                  <c:v>33231</c:v>
                </c:pt>
                <c:pt idx="44">
                  <c:v>33888</c:v>
                </c:pt>
                <c:pt idx="45">
                  <c:v>34419</c:v>
                </c:pt>
                <c:pt idx="46">
                  <c:v>34614</c:v>
                </c:pt>
                <c:pt idx="47">
                  <c:v>35178</c:v>
                </c:pt>
                <c:pt idx="48">
                  <c:v>35739</c:v>
                </c:pt>
                <c:pt idx="49">
                  <c:v>35436</c:v>
                </c:pt>
                <c:pt idx="50">
                  <c:v>35829</c:v>
                </c:pt>
                <c:pt idx="51">
                  <c:v>35117</c:v>
                </c:pt>
                <c:pt idx="52">
                  <c:v>34825</c:v>
                </c:pt>
                <c:pt idx="53">
                  <c:v>35252</c:v>
                </c:pt>
                <c:pt idx="54">
                  <c:v>35066</c:v>
                </c:pt>
                <c:pt idx="55">
                  <c:v>34945</c:v>
                </c:pt>
                <c:pt idx="56">
                  <c:v>34806</c:v>
                </c:pt>
                <c:pt idx="57">
                  <c:v>33919</c:v>
                </c:pt>
                <c:pt idx="58">
                  <c:v>33763</c:v>
                </c:pt>
                <c:pt idx="59">
                  <c:v>33851</c:v>
                </c:pt>
                <c:pt idx="60">
                  <c:v>33411</c:v>
                </c:pt>
                <c:pt idx="61">
                  <c:v>33984</c:v>
                </c:pt>
                <c:pt idx="62">
                  <c:v>34642</c:v>
                </c:pt>
                <c:pt idx="63">
                  <c:v>35704</c:v>
                </c:pt>
                <c:pt idx="64">
                  <c:v>36833</c:v>
                </c:pt>
                <c:pt idx="65">
                  <c:v>36341</c:v>
                </c:pt>
                <c:pt idx="66">
                  <c:v>35716</c:v>
                </c:pt>
                <c:pt idx="67">
                  <c:v>36262</c:v>
                </c:pt>
                <c:pt idx="68">
                  <c:v>36730</c:v>
                </c:pt>
                <c:pt idx="69">
                  <c:v>36865</c:v>
                </c:pt>
                <c:pt idx="70">
                  <c:v>37270</c:v>
                </c:pt>
                <c:pt idx="71">
                  <c:v>36983</c:v>
                </c:pt>
                <c:pt idx="72">
                  <c:v>37722</c:v>
                </c:pt>
                <c:pt idx="73">
                  <c:v>37591</c:v>
                </c:pt>
                <c:pt idx="74">
                  <c:v>37254</c:v>
                </c:pt>
                <c:pt idx="75">
                  <c:v>35775</c:v>
                </c:pt>
                <c:pt idx="76">
                  <c:v>35202</c:v>
                </c:pt>
                <c:pt idx="77">
                  <c:v>36197</c:v>
                </c:pt>
                <c:pt idx="78">
                  <c:v>36659</c:v>
                </c:pt>
                <c:pt idx="79">
                  <c:v>36349</c:v>
                </c:pt>
                <c:pt idx="80">
                  <c:v>35766</c:v>
                </c:pt>
                <c:pt idx="81">
                  <c:v>36129</c:v>
                </c:pt>
                <c:pt idx="82">
                  <c:v>35663</c:v>
                </c:pt>
                <c:pt idx="83">
                  <c:v>35841</c:v>
                </c:pt>
                <c:pt idx="84">
                  <c:v>35128</c:v>
                </c:pt>
                <c:pt idx="85">
                  <c:v>35485</c:v>
                </c:pt>
                <c:pt idx="86">
                  <c:v>35092</c:v>
                </c:pt>
                <c:pt idx="87">
                  <c:v>35582</c:v>
                </c:pt>
                <c:pt idx="88">
                  <c:v>35243</c:v>
                </c:pt>
                <c:pt idx="89">
                  <c:v>34070</c:v>
                </c:pt>
                <c:pt idx="90">
                  <c:v>33699</c:v>
                </c:pt>
                <c:pt idx="91">
                  <c:v>33608</c:v>
                </c:pt>
                <c:pt idx="92">
                  <c:v>32809</c:v>
                </c:pt>
                <c:pt idx="93">
                  <c:v>32768</c:v>
                </c:pt>
                <c:pt idx="94">
                  <c:v>32725</c:v>
                </c:pt>
                <c:pt idx="95">
                  <c:v>32334</c:v>
                </c:pt>
                <c:pt idx="96">
                  <c:v>32446</c:v>
                </c:pt>
                <c:pt idx="97">
                  <c:v>31460</c:v>
                </c:pt>
                <c:pt idx="98">
                  <c:v>30760</c:v>
                </c:pt>
                <c:pt idx="99">
                  <c:v>30504</c:v>
                </c:pt>
                <c:pt idx="100">
                  <c:v>29617</c:v>
                </c:pt>
                <c:pt idx="101">
                  <c:v>28888</c:v>
                </c:pt>
                <c:pt idx="102">
                  <c:v>28039</c:v>
                </c:pt>
                <c:pt idx="103">
                  <c:v>27655</c:v>
                </c:pt>
                <c:pt idx="104">
                  <c:v>27753</c:v>
                </c:pt>
                <c:pt idx="105">
                  <c:v>26718</c:v>
                </c:pt>
                <c:pt idx="106">
                  <c:v>26127</c:v>
                </c:pt>
                <c:pt idx="107">
                  <c:v>25867</c:v>
                </c:pt>
                <c:pt idx="108">
                  <c:v>25030</c:v>
                </c:pt>
                <c:pt idx="109">
                  <c:v>24623</c:v>
                </c:pt>
                <c:pt idx="110">
                  <c:v>23593</c:v>
                </c:pt>
                <c:pt idx="111">
                  <c:v>22706</c:v>
                </c:pt>
                <c:pt idx="112">
                  <c:v>22130</c:v>
                </c:pt>
                <c:pt idx="113">
                  <c:v>21752</c:v>
                </c:pt>
                <c:pt idx="114">
                  <c:v>22251</c:v>
                </c:pt>
                <c:pt idx="115">
                  <c:v>22065</c:v>
                </c:pt>
                <c:pt idx="116">
                  <c:v>23724</c:v>
                </c:pt>
                <c:pt idx="117">
                  <c:v>24698</c:v>
                </c:pt>
                <c:pt idx="118">
                  <c:v>26114</c:v>
                </c:pt>
                <c:pt idx="119">
                  <c:v>27055</c:v>
                </c:pt>
                <c:pt idx="120">
                  <c:v>28455</c:v>
                </c:pt>
                <c:pt idx="121">
                  <c:v>29730</c:v>
                </c:pt>
                <c:pt idx="122">
                  <c:v>30766</c:v>
                </c:pt>
                <c:pt idx="123">
                  <c:v>31166</c:v>
                </c:pt>
                <c:pt idx="124">
                  <c:v>32112</c:v>
                </c:pt>
                <c:pt idx="125">
                  <c:v>33052</c:v>
                </c:pt>
                <c:pt idx="126">
                  <c:v>33313</c:v>
                </c:pt>
                <c:pt idx="127">
                  <c:v>33669</c:v>
                </c:pt>
                <c:pt idx="128">
                  <c:v>32956</c:v>
                </c:pt>
                <c:pt idx="129">
                  <c:v>33292</c:v>
                </c:pt>
                <c:pt idx="130">
                  <c:v>33273</c:v>
                </c:pt>
                <c:pt idx="131">
                  <c:v>33311</c:v>
                </c:pt>
                <c:pt idx="132">
                  <c:v>33001</c:v>
                </c:pt>
                <c:pt idx="133">
                  <c:v>32234</c:v>
                </c:pt>
                <c:pt idx="134">
                  <c:v>33111</c:v>
                </c:pt>
                <c:pt idx="135">
                  <c:v>33967</c:v>
                </c:pt>
                <c:pt idx="136">
                  <c:v>34712</c:v>
                </c:pt>
                <c:pt idx="137">
                  <c:v>36125</c:v>
                </c:pt>
                <c:pt idx="138">
                  <c:v>35875</c:v>
                </c:pt>
                <c:pt idx="139">
                  <c:v>36451</c:v>
                </c:pt>
                <c:pt idx="140">
                  <c:v>36515</c:v>
                </c:pt>
                <c:pt idx="141">
                  <c:v>36008</c:v>
                </c:pt>
                <c:pt idx="142">
                  <c:v>35470</c:v>
                </c:pt>
                <c:pt idx="143">
                  <c:v>35021</c:v>
                </c:pt>
                <c:pt idx="144">
                  <c:v>34996</c:v>
                </c:pt>
                <c:pt idx="145">
                  <c:v>35128</c:v>
                </c:pt>
                <c:pt idx="146">
                  <c:v>34659</c:v>
                </c:pt>
                <c:pt idx="147">
                  <c:v>34196</c:v>
                </c:pt>
                <c:pt idx="148">
                  <c:v>33493</c:v>
                </c:pt>
                <c:pt idx="149">
                  <c:v>32654</c:v>
                </c:pt>
                <c:pt idx="150">
                  <c:v>32688</c:v>
                </c:pt>
                <c:pt idx="151">
                  <c:v>32840</c:v>
                </c:pt>
                <c:pt idx="152">
                  <c:v>32417</c:v>
                </c:pt>
                <c:pt idx="153">
                  <c:v>33027</c:v>
                </c:pt>
                <c:pt idx="154">
                  <c:v>33192</c:v>
                </c:pt>
                <c:pt idx="155">
                  <c:v>32397</c:v>
                </c:pt>
                <c:pt idx="156">
                  <c:v>32157</c:v>
                </c:pt>
                <c:pt idx="157">
                  <c:v>32806</c:v>
                </c:pt>
                <c:pt idx="158">
                  <c:v>31675</c:v>
                </c:pt>
                <c:pt idx="159">
                  <c:v>31062</c:v>
                </c:pt>
                <c:pt idx="160">
                  <c:v>31019</c:v>
                </c:pt>
                <c:pt idx="161">
                  <c:v>29732</c:v>
                </c:pt>
                <c:pt idx="162">
                  <c:v>29160</c:v>
                </c:pt>
                <c:pt idx="163">
                  <c:v>28070</c:v>
                </c:pt>
                <c:pt idx="164">
                  <c:v>27410</c:v>
                </c:pt>
                <c:pt idx="165">
                  <c:v>26264</c:v>
                </c:pt>
                <c:pt idx="166">
                  <c:v>25687</c:v>
                </c:pt>
                <c:pt idx="167">
                  <c:v>26770</c:v>
                </c:pt>
                <c:pt idx="168">
                  <c:v>26648</c:v>
                </c:pt>
                <c:pt idx="169">
                  <c:v>25963</c:v>
                </c:pt>
                <c:pt idx="170">
                  <c:v>28066</c:v>
                </c:pt>
                <c:pt idx="171">
                  <c:v>28403</c:v>
                </c:pt>
                <c:pt idx="172">
                  <c:v>28041</c:v>
                </c:pt>
                <c:pt idx="173">
                  <c:v>27776</c:v>
                </c:pt>
                <c:pt idx="174">
                  <c:v>27956</c:v>
                </c:pt>
                <c:pt idx="175">
                  <c:v>27916</c:v>
                </c:pt>
                <c:pt idx="176">
                  <c:v>29214</c:v>
                </c:pt>
                <c:pt idx="177">
                  <c:v>29266</c:v>
                </c:pt>
                <c:pt idx="178">
                  <c:v>29527</c:v>
                </c:pt>
                <c:pt idx="179">
                  <c:v>29484</c:v>
                </c:pt>
                <c:pt idx="180">
                  <c:v>29779</c:v>
                </c:pt>
                <c:pt idx="181">
                  <c:v>29723</c:v>
                </c:pt>
                <c:pt idx="182">
                  <c:v>29083</c:v>
                </c:pt>
                <c:pt idx="183">
                  <c:v>28969</c:v>
                </c:pt>
                <c:pt idx="184">
                  <c:v>28661</c:v>
                </c:pt>
                <c:pt idx="185">
                  <c:v>29779</c:v>
                </c:pt>
                <c:pt idx="186">
                  <c:v>29901</c:v>
                </c:pt>
                <c:pt idx="187">
                  <c:v>31054</c:v>
                </c:pt>
                <c:pt idx="188">
                  <c:v>31358</c:v>
                </c:pt>
                <c:pt idx="189">
                  <c:v>32014</c:v>
                </c:pt>
                <c:pt idx="190">
                  <c:v>32178</c:v>
                </c:pt>
                <c:pt idx="191">
                  <c:v>32310</c:v>
                </c:pt>
                <c:pt idx="192">
                  <c:v>32322</c:v>
                </c:pt>
                <c:pt idx="193">
                  <c:v>34159</c:v>
                </c:pt>
                <c:pt idx="194">
                  <c:v>34376</c:v>
                </c:pt>
                <c:pt idx="195">
                  <c:v>34843</c:v>
                </c:pt>
                <c:pt idx="196">
                  <c:v>36063</c:v>
                </c:pt>
                <c:pt idx="197">
                  <c:v>37759</c:v>
                </c:pt>
                <c:pt idx="198">
                  <c:v>38039</c:v>
                </c:pt>
                <c:pt idx="199">
                  <c:v>38271</c:v>
                </c:pt>
                <c:pt idx="200">
                  <c:v>38046</c:v>
                </c:pt>
                <c:pt idx="201">
                  <c:v>38722</c:v>
                </c:pt>
                <c:pt idx="202">
                  <c:v>39698</c:v>
                </c:pt>
                <c:pt idx="203">
                  <c:v>40441</c:v>
                </c:pt>
                <c:pt idx="204">
                  <c:v>40496</c:v>
                </c:pt>
                <c:pt idx="205">
                  <c:v>39593</c:v>
                </c:pt>
                <c:pt idx="206">
                  <c:v>41360</c:v>
                </c:pt>
                <c:pt idx="207">
                  <c:v>42023</c:v>
                </c:pt>
                <c:pt idx="208">
                  <c:v>43498</c:v>
                </c:pt>
                <c:pt idx="209">
                  <c:v>45083</c:v>
                </c:pt>
                <c:pt idx="210">
                  <c:v>44922</c:v>
                </c:pt>
                <c:pt idx="211">
                  <c:v>44756</c:v>
                </c:pt>
                <c:pt idx="212">
                  <c:v>46204</c:v>
                </c:pt>
                <c:pt idx="213">
                  <c:v>47251</c:v>
                </c:pt>
                <c:pt idx="214">
                  <c:v>47764</c:v>
                </c:pt>
                <c:pt idx="215">
                  <c:v>48725</c:v>
                </c:pt>
                <c:pt idx="216">
                  <c:v>49741</c:v>
                </c:pt>
                <c:pt idx="217">
                  <c:v>50879</c:v>
                </c:pt>
                <c:pt idx="218">
                  <c:v>49678</c:v>
                </c:pt>
                <c:pt idx="219">
                  <c:v>49002</c:v>
                </c:pt>
                <c:pt idx="220">
                  <c:v>48411</c:v>
                </c:pt>
                <c:pt idx="221">
                  <c:v>48263</c:v>
                </c:pt>
                <c:pt idx="222">
                  <c:v>48227</c:v>
                </c:pt>
                <c:pt idx="223">
                  <c:v>47563</c:v>
                </c:pt>
                <c:pt idx="224">
                  <c:v>45038</c:v>
                </c:pt>
                <c:pt idx="225">
                  <c:v>44050</c:v>
                </c:pt>
                <c:pt idx="226">
                  <c:v>44426</c:v>
                </c:pt>
                <c:pt idx="227">
                  <c:v>43799</c:v>
                </c:pt>
                <c:pt idx="228">
                  <c:v>43727</c:v>
                </c:pt>
                <c:pt idx="229">
                  <c:v>42805</c:v>
                </c:pt>
                <c:pt idx="230">
                  <c:v>41669</c:v>
                </c:pt>
                <c:pt idx="231">
                  <c:v>41901</c:v>
                </c:pt>
                <c:pt idx="232">
                  <c:v>40753</c:v>
                </c:pt>
                <c:pt idx="233">
                  <c:v>39620</c:v>
                </c:pt>
                <c:pt idx="234">
                  <c:v>39387</c:v>
                </c:pt>
                <c:pt idx="235">
                  <c:v>39329</c:v>
                </c:pt>
                <c:pt idx="236">
                  <c:v>40095</c:v>
                </c:pt>
                <c:pt idx="237">
                  <c:v>40123</c:v>
                </c:pt>
                <c:pt idx="238">
                  <c:v>39403</c:v>
                </c:pt>
                <c:pt idx="239">
                  <c:v>38733</c:v>
                </c:pt>
                <c:pt idx="240">
                  <c:v>38170</c:v>
                </c:pt>
                <c:pt idx="241">
                  <c:v>38359</c:v>
                </c:pt>
                <c:pt idx="242">
                  <c:v>38504</c:v>
                </c:pt>
                <c:pt idx="243">
                  <c:v>38864</c:v>
                </c:pt>
                <c:pt idx="244">
                  <c:v>38688</c:v>
                </c:pt>
                <c:pt idx="245">
                  <c:v>37362</c:v>
                </c:pt>
                <c:pt idx="246">
                  <c:v>37111</c:v>
                </c:pt>
                <c:pt idx="247">
                  <c:v>37670</c:v>
                </c:pt>
                <c:pt idx="248">
                  <c:v>39245</c:v>
                </c:pt>
                <c:pt idx="249">
                  <c:v>39877</c:v>
                </c:pt>
                <c:pt idx="250">
                  <c:v>40147</c:v>
                </c:pt>
                <c:pt idx="251">
                  <c:v>41384</c:v>
                </c:pt>
                <c:pt idx="252">
                  <c:v>41882</c:v>
                </c:pt>
                <c:pt idx="253">
                  <c:v>42216</c:v>
                </c:pt>
                <c:pt idx="254">
                  <c:v>44224</c:v>
                </c:pt>
                <c:pt idx="255">
                  <c:v>45141</c:v>
                </c:pt>
                <c:pt idx="256">
                  <c:v>45395</c:v>
                </c:pt>
                <c:pt idx="257">
                  <c:v>46771</c:v>
                </c:pt>
                <c:pt idx="258">
                  <c:v>47870</c:v>
                </c:pt>
                <c:pt idx="259">
                  <c:v>47385</c:v>
                </c:pt>
                <c:pt idx="260">
                  <c:v>46740</c:v>
                </c:pt>
                <c:pt idx="261">
                  <c:v>45939</c:v>
                </c:pt>
                <c:pt idx="262">
                  <c:v>45412</c:v>
                </c:pt>
                <c:pt idx="263">
                  <c:v>45549</c:v>
                </c:pt>
                <c:pt idx="264">
                  <c:v>45436</c:v>
                </c:pt>
                <c:pt idx="265">
                  <c:v>44172</c:v>
                </c:pt>
                <c:pt idx="266">
                  <c:v>43799</c:v>
                </c:pt>
                <c:pt idx="267">
                  <c:v>43181</c:v>
                </c:pt>
                <c:pt idx="268">
                  <c:v>43726</c:v>
                </c:pt>
                <c:pt idx="269">
                  <c:v>43345</c:v>
                </c:pt>
                <c:pt idx="270">
                  <c:v>42353</c:v>
                </c:pt>
                <c:pt idx="271">
                  <c:v>41641</c:v>
                </c:pt>
                <c:pt idx="272">
                  <c:v>40947</c:v>
                </c:pt>
                <c:pt idx="273">
                  <c:v>40190</c:v>
                </c:pt>
                <c:pt idx="274">
                  <c:v>39757</c:v>
                </c:pt>
                <c:pt idx="275">
                  <c:v>37550</c:v>
                </c:pt>
                <c:pt idx="276">
                  <c:v>37225</c:v>
                </c:pt>
                <c:pt idx="277">
                  <c:v>37216</c:v>
                </c:pt>
                <c:pt idx="278">
                  <c:v>34694</c:v>
                </c:pt>
                <c:pt idx="279">
                  <c:v>31397</c:v>
                </c:pt>
                <c:pt idx="280">
                  <c:v>28622</c:v>
                </c:pt>
                <c:pt idx="281">
                  <c:v>26818</c:v>
                </c:pt>
                <c:pt idx="282">
                  <c:v>26274</c:v>
                </c:pt>
                <c:pt idx="283">
                  <c:v>25545</c:v>
                </c:pt>
                <c:pt idx="284">
                  <c:v>23339</c:v>
                </c:pt>
                <c:pt idx="285">
                  <c:v>22768</c:v>
                </c:pt>
                <c:pt idx="286">
                  <c:v>21392</c:v>
                </c:pt>
                <c:pt idx="287">
                  <c:v>21097</c:v>
                </c:pt>
                <c:pt idx="288">
                  <c:v>19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DAE-43A6-990A-DB5A2430D194}"/>
            </c:ext>
          </c:extLst>
        </c:ser>
        <c:ser>
          <c:idx val="2"/>
          <c:order val="1"/>
          <c:tx>
            <c:strRef>
              <c:f>kappaleet!$J$3</c:f>
              <c:strCache>
                <c:ptCount val="1"/>
                <c:pt idx="0">
                  <c:v>Aloitukse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kappaleet!$H$40:$H$339</c:f>
              <c:numCache>
                <c:formatCode>m/d/yyyy</c:formatCode>
                <c:ptCount val="300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  <c:pt idx="195">
                  <c:v>42461</c:v>
                </c:pt>
                <c:pt idx="196">
                  <c:v>42491</c:v>
                </c:pt>
                <c:pt idx="197">
                  <c:v>42522</c:v>
                </c:pt>
                <c:pt idx="198">
                  <c:v>42552</c:v>
                </c:pt>
                <c:pt idx="199">
                  <c:v>42583</c:v>
                </c:pt>
                <c:pt idx="200">
                  <c:v>42614</c:v>
                </c:pt>
                <c:pt idx="201">
                  <c:v>42644</c:v>
                </c:pt>
                <c:pt idx="202">
                  <c:v>42675</c:v>
                </c:pt>
                <c:pt idx="203">
                  <c:v>42705</c:v>
                </c:pt>
                <c:pt idx="204">
                  <c:v>42736</c:v>
                </c:pt>
                <c:pt idx="205">
                  <c:v>42767</c:v>
                </c:pt>
                <c:pt idx="206">
                  <c:v>42795</c:v>
                </c:pt>
                <c:pt idx="207">
                  <c:v>42826</c:v>
                </c:pt>
                <c:pt idx="208">
                  <c:v>42856</c:v>
                </c:pt>
                <c:pt idx="209">
                  <c:v>42887</c:v>
                </c:pt>
                <c:pt idx="210">
                  <c:v>42917</c:v>
                </c:pt>
                <c:pt idx="211">
                  <c:v>42948</c:v>
                </c:pt>
                <c:pt idx="212">
                  <c:v>42979</c:v>
                </c:pt>
                <c:pt idx="213">
                  <c:v>43009</c:v>
                </c:pt>
                <c:pt idx="214">
                  <c:v>43040</c:v>
                </c:pt>
                <c:pt idx="215">
                  <c:v>43070</c:v>
                </c:pt>
                <c:pt idx="216">
                  <c:v>43101</c:v>
                </c:pt>
                <c:pt idx="217">
                  <c:v>43132</c:v>
                </c:pt>
                <c:pt idx="218">
                  <c:v>43160</c:v>
                </c:pt>
                <c:pt idx="219">
                  <c:v>43191</c:v>
                </c:pt>
                <c:pt idx="220">
                  <c:v>43221</c:v>
                </c:pt>
                <c:pt idx="221">
                  <c:v>43252</c:v>
                </c:pt>
                <c:pt idx="222">
                  <c:v>43282</c:v>
                </c:pt>
                <c:pt idx="223">
                  <c:v>43313</c:v>
                </c:pt>
                <c:pt idx="224">
                  <c:v>43344</c:v>
                </c:pt>
                <c:pt idx="225">
                  <c:v>43374</c:v>
                </c:pt>
                <c:pt idx="226">
                  <c:v>43405</c:v>
                </c:pt>
                <c:pt idx="227">
                  <c:v>43435</c:v>
                </c:pt>
                <c:pt idx="228">
                  <c:v>43466</c:v>
                </c:pt>
                <c:pt idx="229">
                  <c:v>43497</c:v>
                </c:pt>
                <c:pt idx="230">
                  <c:v>43525</c:v>
                </c:pt>
                <c:pt idx="231">
                  <c:v>43556</c:v>
                </c:pt>
                <c:pt idx="232">
                  <c:v>43586</c:v>
                </c:pt>
                <c:pt idx="233">
                  <c:v>43617</c:v>
                </c:pt>
                <c:pt idx="234">
                  <c:v>43647</c:v>
                </c:pt>
                <c:pt idx="235">
                  <c:v>43678</c:v>
                </c:pt>
                <c:pt idx="236">
                  <c:v>43709</c:v>
                </c:pt>
                <c:pt idx="237">
                  <c:v>43739</c:v>
                </c:pt>
                <c:pt idx="238">
                  <c:v>43770</c:v>
                </c:pt>
                <c:pt idx="239">
                  <c:v>43800</c:v>
                </c:pt>
                <c:pt idx="240">
                  <c:v>43831</c:v>
                </c:pt>
                <c:pt idx="241">
                  <c:v>43862</c:v>
                </c:pt>
                <c:pt idx="242">
                  <c:v>43891</c:v>
                </c:pt>
                <c:pt idx="243">
                  <c:v>43922</c:v>
                </c:pt>
                <c:pt idx="244">
                  <c:v>43952</c:v>
                </c:pt>
                <c:pt idx="245">
                  <c:v>43983</c:v>
                </c:pt>
                <c:pt idx="246">
                  <c:v>44013</c:v>
                </c:pt>
                <c:pt idx="247">
                  <c:v>44044</c:v>
                </c:pt>
                <c:pt idx="248">
                  <c:v>44075</c:v>
                </c:pt>
                <c:pt idx="249">
                  <c:v>44105</c:v>
                </c:pt>
                <c:pt idx="250">
                  <c:v>44136</c:v>
                </c:pt>
                <c:pt idx="251">
                  <c:v>44166</c:v>
                </c:pt>
                <c:pt idx="252">
                  <c:v>44197</c:v>
                </c:pt>
                <c:pt idx="253">
                  <c:v>44228</c:v>
                </c:pt>
                <c:pt idx="254">
                  <c:v>44256</c:v>
                </c:pt>
                <c:pt idx="255">
                  <c:v>44287</c:v>
                </c:pt>
                <c:pt idx="256">
                  <c:v>44317</c:v>
                </c:pt>
                <c:pt idx="257">
                  <c:v>44348</c:v>
                </c:pt>
                <c:pt idx="258">
                  <c:v>44378</c:v>
                </c:pt>
                <c:pt idx="259">
                  <c:v>44409</c:v>
                </c:pt>
                <c:pt idx="260">
                  <c:v>44440</c:v>
                </c:pt>
                <c:pt idx="261">
                  <c:v>44470</c:v>
                </c:pt>
                <c:pt idx="262">
                  <c:v>44501</c:v>
                </c:pt>
                <c:pt idx="263">
                  <c:v>44531</c:v>
                </c:pt>
                <c:pt idx="264">
                  <c:v>44562</c:v>
                </c:pt>
                <c:pt idx="265">
                  <c:v>44593</c:v>
                </c:pt>
                <c:pt idx="266">
                  <c:v>44621</c:v>
                </c:pt>
                <c:pt idx="267">
                  <c:v>44652</c:v>
                </c:pt>
                <c:pt idx="268">
                  <c:v>44682</c:v>
                </c:pt>
                <c:pt idx="269">
                  <c:v>44713</c:v>
                </c:pt>
                <c:pt idx="270">
                  <c:v>44743</c:v>
                </c:pt>
                <c:pt idx="271">
                  <c:v>44774</c:v>
                </c:pt>
                <c:pt idx="272">
                  <c:v>44805</c:v>
                </c:pt>
                <c:pt idx="273">
                  <c:v>44835</c:v>
                </c:pt>
                <c:pt idx="274">
                  <c:v>44866</c:v>
                </c:pt>
                <c:pt idx="275">
                  <c:v>44896</c:v>
                </c:pt>
                <c:pt idx="276">
                  <c:v>44927</c:v>
                </c:pt>
                <c:pt idx="277">
                  <c:v>44958</c:v>
                </c:pt>
                <c:pt idx="278">
                  <c:v>44986</c:v>
                </c:pt>
                <c:pt idx="279">
                  <c:v>45017</c:v>
                </c:pt>
                <c:pt idx="280">
                  <c:v>45047</c:v>
                </c:pt>
                <c:pt idx="281">
                  <c:v>45078</c:v>
                </c:pt>
                <c:pt idx="282">
                  <c:v>45108</c:v>
                </c:pt>
                <c:pt idx="283">
                  <c:v>45139</c:v>
                </c:pt>
                <c:pt idx="284">
                  <c:v>45170</c:v>
                </c:pt>
                <c:pt idx="285">
                  <c:v>45200</c:v>
                </c:pt>
                <c:pt idx="286">
                  <c:v>45231</c:v>
                </c:pt>
                <c:pt idx="287">
                  <c:v>45261</c:v>
                </c:pt>
                <c:pt idx="288">
                  <c:v>45292</c:v>
                </c:pt>
                <c:pt idx="289">
                  <c:v>45323</c:v>
                </c:pt>
                <c:pt idx="290">
                  <c:v>45352</c:v>
                </c:pt>
                <c:pt idx="291">
                  <c:v>45383</c:v>
                </c:pt>
                <c:pt idx="292">
                  <c:v>45413</c:v>
                </c:pt>
                <c:pt idx="293">
                  <c:v>45444</c:v>
                </c:pt>
                <c:pt idx="294">
                  <c:v>45474</c:v>
                </c:pt>
                <c:pt idx="295">
                  <c:v>45505</c:v>
                </c:pt>
                <c:pt idx="296">
                  <c:v>45536</c:v>
                </c:pt>
                <c:pt idx="297">
                  <c:v>45566</c:v>
                </c:pt>
                <c:pt idx="298">
                  <c:v>45597</c:v>
                </c:pt>
                <c:pt idx="299">
                  <c:v>45627</c:v>
                </c:pt>
              </c:numCache>
            </c:numRef>
          </c:cat>
          <c:val>
            <c:numRef>
              <c:f>kappaleet!$J$40:$J$339</c:f>
              <c:numCache>
                <c:formatCode>0</c:formatCode>
                <c:ptCount val="300"/>
                <c:pt idx="0">
                  <c:v>36400</c:v>
                </c:pt>
                <c:pt idx="1">
                  <c:v>36750</c:v>
                </c:pt>
                <c:pt idx="2">
                  <c:v>37271</c:v>
                </c:pt>
                <c:pt idx="3">
                  <c:v>37119</c:v>
                </c:pt>
                <c:pt idx="4">
                  <c:v>37434</c:v>
                </c:pt>
                <c:pt idx="5">
                  <c:v>36689</c:v>
                </c:pt>
                <c:pt idx="6">
                  <c:v>36256</c:v>
                </c:pt>
                <c:pt idx="7">
                  <c:v>36450</c:v>
                </c:pt>
                <c:pt idx="8">
                  <c:v>35846</c:v>
                </c:pt>
                <c:pt idx="9">
                  <c:v>35255</c:v>
                </c:pt>
                <c:pt idx="10">
                  <c:v>34753</c:v>
                </c:pt>
                <c:pt idx="11">
                  <c:v>34297</c:v>
                </c:pt>
                <c:pt idx="12">
                  <c:v>34320</c:v>
                </c:pt>
                <c:pt idx="13">
                  <c:v>33675</c:v>
                </c:pt>
                <c:pt idx="14">
                  <c:v>33049</c:v>
                </c:pt>
                <c:pt idx="15">
                  <c:v>32621</c:v>
                </c:pt>
                <c:pt idx="16">
                  <c:v>30934</c:v>
                </c:pt>
                <c:pt idx="17">
                  <c:v>30500</c:v>
                </c:pt>
                <c:pt idx="18">
                  <c:v>30370</c:v>
                </c:pt>
                <c:pt idx="19">
                  <c:v>29749</c:v>
                </c:pt>
                <c:pt idx="20">
                  <c:v>29309</c:v>
                </c:pt>
                <c:pt idx="21">
                  <c:v>29300</c:v>
                </c:pt>
                <c:pt idx="22">
                  <c:v>29293</c:v>
                </c:pt>
                <c:pt idx="23">
                  <c:v>28984</c:v>
                </c:pt>
                <c:pt idx="24">
                  <c:v>28569</c:v>
                </c:pt>
                <c:pt idx="25">
                  <c:v>29053</c:v>
                </c:pt>
                <c:pt idx="26">
                  <c:v>28879</c:v>
                </c:pt>
                <c:pt idx="27">
                  <c:v>29347</c:v>
                </c:pt>
                <c:pt idx="28">
                  <c:v>29513</c:v>
                </c:pt>
                <c:pt idx="29">
                  <c:v>29452</c:v>
                </c:pt>
                <c:pt idx="30">
                  <c:v>29107</c:v>
                </c:pt>
                <c:pt idx="31">
                  <c:v>29103</c:v>
                </c:pt>
                <c:pt idx="32">
                  <c:v>29782</c:v>
                </c:pt>
                <c:pt idx="33">
                  <c:v>29564</c:v>
                </c:pt>
                <c:pt idx="34">
                  <c:v>29147</c:v>
                </c:pt>
                <c:pt idx="35">
                  <c:v>29224</c:v>
                </c:pt>
                <c:pt idx="36">
                  <c:v>29097</c:v>
                </c:pt>
                <c:pt idx="37">
                  <c:v>28953</c:v>
                </c:pt>
                <c:pt idx="38">
                  <c:v>29149</c:v>
                </c:pt>
                <c:pt idx="39">
                  <c:v>29250</c:v>
                </c:pt>
                <c:pt idx="40">
                  <c:v>29221</c:v>
                </c:pt>
                <c:pt idx="41">
                  <c:v>31075</c:v>
                </c:pt>
                <c:pt idx="42">
                  <c:v>31751</c:v>
                </c:pt>
                <c:pt idx="43">
                  <c:v>32450</c:v>
                </c:pt>
                <c:pt idx="44">
                  <c:v>32737</c:v>
                </c:pt>
                <c:pt idx="45">
                  <c:v>33495</c:v>
                </c:pt>
                <c:pt idx="46">
                  <c:v>33752</c:v>
                </c:pt>
                <c:pt idx="47">
                  <c:v>34179</c:v>
                </c:pt>
                <c:pt idx="48">
                  <c:v>34837</c:v>
                </c:pt>
                <c:pt idx="49">
                  <c:v>35157</c:v>
                </c:pt>
                <c:pt idx="50">
                  <c:v>35886</c:v>
                </c:pt>
                <c:pt idx="51">
                  <c:v>35646</c:v>
                </c:pt>
                <c:pt idx="52">
                  <c:v>36145</c:v>
                </c:pt>
                <c:pt idx="53">
                  <c:v>35218</c:v>
                </c:pt>
                <c:pt idx="54">
                  <c:v>35082</c:v>
                </c:pt>
                <c:pt idx="55">
                  <c:v>35357</c:v>
                </c:pt>
                <c:pt idx="56">
                  <c:v>34908</c:v>
                </c:pt>
                <c:pt idx="57">
                  <c:v>34147</c:v>
                </c:pt>
                <c:pt idx="58">
                  <c:v>34465</c:v>
                </c:pt>
                <c:pt idx="59">
                  <c:v>34680</c:v>
                </c:pt>
                <c:pt idx="60">
                  <c:v>34141</c:v>
                </c:pt>
                <c:pt idx="61">
                  <c:v>34195</c:v>
                </c:pt>
                <c:pt idx="62">
                  <c:v>33554</c:v>
                </c:pt>
                <c:pt idx="63">
                  <c:v>33562</c:v>
                </c:pt>
                <c:pt idx="64">
                  <c:v>34506</c:v>
                </c:pt>
                <c:pt idx="65">
                  <c:v>34952</c:v>
                </c:pt>
                <c:pt idx="66">
                  <c:v>34849</c:v>
                </c:pt>
                <c:pt idx="67">
                  <c:v>35043</c:v>
                </c:pt>
                <c:pt idx="68">
                  <c:v>35230</c:v>
                </c:pt>
                <c:pt idx="69">
                  <c:v>35798</c:v>
                </c:pt>
                <c:pt idx="70">
                  <c:v>35825</c:v>
                </c:pt>
                <c:pt idx="71">
                  <c:v>35538</c:v>
                </c:pt>
                <c:pt idx="72">
                  <c:v>35995</c:v>
                </c:pt>
                <c:pt idx="73">
                  <c:v>35600</c:v>
                </c:pt>
                <c:pt idx="74">
                  <c:v>36383</c:v>
                </c:pt>
                <c:pt idx="75">
                  <c:v>36165</c:v>
                </c:pt>
                <c:pt idx="76">
                  <c:v>36146</c:v>
                </c:pt>
                <c:pt idx="77">
                  <c:v>35933</c:v>
                </c:pt>
                <c:pt idx="78">
                  <c:v>35751</c:v>
                </c:pt>
                <c:pt idx="79">
                  <c:v>36307</c:v>
                </c:pt>
                <c:pt idx="80">
                  <c:v>36372</c:v>
                </c:pt>
                <c:pt idx="81">
                  <c:v>36222</c:v>
                </c:pt>
                <c:pt idx="82">
                  <c:v>35969</c:v>
                </c:pt>
                <c:pt idx="83">
                  <c:v>35920</c:v>
                </c:pt>
                <c:pt idx="84">
                  <c:v>35484</c:v>
                </c:pt>
                <c:pt idx="85">
                  <c:v>35280</c:v>
                </c:pt>
                <c:pt idx="86">
                  <c:v>35098</c:v>
                </c:pt>
                <c:pt idx="87">
                  <c:v>35371</c:v>
                </c:pt>
                <c:pt idx="88">
                  <c:v>34135</c:v>
                </c:pt>
                <c:pt idx="89">
                  <c:v>33852</c:v>
                </c:pt>
                <c:pt idx="90">
                  <c:v>33923</c:v>
                </c:pt>
                <c:pt idx="91">
                  <c:v>33702</c:v>
                </c:pt>
                <c:pt idx="92">
                  <c:v>33507</c:v>
                </c:pt>
                <c:pt idx="93">
                  <c:v>33232</c:v>
                </c:pt>
                <c:pt idx="94">
                  <c:v>32963</c:v>
                </c:pt>
                <c:pt idx="95">
                  <c:v>32662</c:v>
                </c:pt>
                <c:pt idx="96">
                  <c:v>33169</c:v>
                </c:pt>
                <c:pt idx="97">
                  <c:v>33246</c:v>
                </c:pt>
                <c:pt idx="98">
                  <c:v>32278</c:v>
                </c:pt>
                <c:pt idx="99">
                  <c:v>31511</c:v>
                </c:pt>
                <c:pt idx="100">
                  <c:v>30488</c:v>
                </c:pt>
                <c:pt idx="101">
                  <c:v>29400</c:v>
                </c:pt>
                <c:pt idx="102">
                  <c:v>28649</c:v>
                </c:pt>
                <c:pt idx="103">
                  <c:v>27098</c:v>
                </c:pt>
                <c:pt idx="104">
                  <c:v>26485</c:v>
                </c:pt>
                <c:pt idx="105">
                  <c:v>25425</c:v>
                </c:pt>
                <c:pt idx="106">
                  <c:v>24311</c:v>
                </c:pt>
                <c:pt idx="107">
                  <c:v>23712</c:v>
                </c:pt>
                <c:pt idx="108">
                  <c:v>22587</c:v>
                </c:pt>
                <c:pt idx="109">
                  <c:v>22074</c:v>
                </c:pt>
                <c:pt idx="110">
                  <c:v>21577</c:v>
                </c:pt>
                <c:pt idx="111">
                  <c:v>20763</c:v>
                </c:pt>
                <c:pt idx="112">
                  <c:v>19700</c:v>
                </c:pt>
                <c:pt idx="113">
                  <c:v>19507</c:v>
                </c:pt>
                <c:pt idx="114">
                  <c:v>19509</c:v>
                </c:pt>
                <c:pt idx="115">
                  <c:v>19457</c:v>
                </c:pt>
                <c:pt idx="116">
                  <c:v>19669</c:v>
                </c:pt>
                <c:pt idx="117">
                  <c:v>20356</c:v>
                </c:pt>
                <c:pt idx="118">
                  <c:v>22299</c:v>
                </c:pt>
                <c:pt idx="119">
                  <c:v>23853</c:v>
                </c:pt>
                <c:pt idx="120">
                  <c:v>24683</c:v>
                </c:pt>
                <c:pt idx="121">
                  <c:v>25789</c:v>
                </c:pt>
                <c:pt idx="122">
                  <c:v>26524</c:v>
                </c:pt>
                <c:pt idx="123">
                  <c:v>28390</c:v>
                </c:pt>
                <c:pt idx="124">
                  <c:v>30022</c:v>
                </c:pt>
                <c:pt idx="125">
                  <c:v>31121</c:v>
                </c:pt>
                <c:pt idx="126">
                  <c:v>31538</c:v>
                </c:pt>
                <c:pt idx="127">
                  <c:v>32757</c:v>
                </c:pt>
                <c:pt idx="128">
                  <c:v>33840</c:v>
                </c:pt>
                <c:pt idx="129">
                  <c:v>35166</c:v>
                </c:pt>
                <c:pt idx="130">
                  <c:v>34585</c:v>
                </c:pt>
                <c:pt idx="131">
                  <c:v>34255</c:v>
                </c:pt>
                <c:pt idx="132">
                  <c:v>33970</c:v>
                </c:pt>
                <c:pt idx="133">
                  <c:v>33506</c:v>
                </c:pt>
                <c:pt idx="134">
                  <c:v>34337</c:v>
                </c:pt>
                <c:pt idx="135">
                  <c:v>33947</c:v>
                </c:pt>
                <c:pt idx="136">
                  <c:v>35375</c:v>
                </c:pt>
                <c:pt idx="137">
                  <c:v>35093</c:v>
                </c:pt>
                <c:pt idx="138">
                  <c:v>35021</c:v>
                </c:pt>
                <c:pt idx="139">
                  <c:v>35064</c:v>
                </c:pt>
                <c:pt idx="140">
                  <c:v>34428</c:v>
                </c:pt>
                <c:pt idx="141">
                  <c:v>33720</c:v>
                </c:pt>
                <c:pt idx="142">
                  <c:v>33739</c:v>
                </c:pt>
                <c:pt idx="143">
                  <c:v>33459</c:v>
                </c:pt>
                <c:pt idx="144">
                  <c:v>33331</c:v>
                </c:pt>
                <c:pt idx="145">
                  <c:v>33352</c:v>
                </c:pt>
                <c:pt idx="146">
                  <c:v>32843</c:v>
                </c:pt>
                <c:pt idx="147">
                  <c:v>33077</c:v>
                </c:pt>
                <c:pt idx="148">
                  <c:v>32124</c:v>
                </c:pt>
                <c:pt idx="149">
                  <c:v>32222</c:v>
                </c:pt>
                <c:pt idx="150">
                  <c:v>32214</c:v>
                </c:pt>
                <c:pt idx="151">
                  <c:v>31835</c:v>
                </c:pt>
                <c:pt idx="152">
                  <c:v>31503</c:v>
                </c:pt>
                <c:pt idx="153">
                  <c:v>31188</c:v>
                </c:pt>
                <c:pt idx="154">
                  <c:v>31152</c:v>
                </c:pt>
                <c:pt idx="155">
                  <c:v>30781</c:v>
                </c:pt>
                <c:pt idx="156">
                  <c:v>31255</c:v>
                </c:pt>
                <c:pt idx="157">
                  <c:v>31282</c:v>
                </c:pt>
                <c:pt idx="158">
                  <c:v>31637</c:v>
                </c:pt>
                <c:pt idx="159">
                  <c:v>30835</c:v>
                </c:pt>
                <c:pt idx="160">
                  <c:v>30624</c:v>
                </c:pt>
                <c:pt idx="161">
                  <c:v>30181</c:v>
                </c:pt>
                <c:pt idx="162">
                  <c:v>29993</c:v>
                </c:pt>
                <c:pt idx="163">
                  <c:v>29041</c:v>
                </c:pt>
                <c:pt idx="164">
                  <c:v>28823</c:v>
                </c:pt>
                <c:pt idx="165">
                  <c:v>28731</c:v>
                </c:pt>
                <c:pt idx="166">
                  <c:v>28078</c:v>
                </c:pt>
                <c:pt idx="167">
                  <c:v>28083</c:v>
                </c:pt>
                <c:pt idx="168">
                  <c:v>27614</c:v>
                </c:pt>
                <c:pt idx="169">
                  <c:v>27801</c:v>
                </c:pt>
                <c:pt idx="170">
                  <c:v>27273</c:v>
                </c:pt>
                <c:pt idx="171">
                  <c:v>27584</c:v>
                </c:pt>
                <c:pt idx="172">
                  <c:v>26511</c:v>
                </c:pt>
                <c:pt idx="173">
                  <c:v>26212</c:v>
                </c:pt>
                <c:pt idx="174">
                  <c:v>26043</c:v>
                </c:pt>
                <c:pt idx="175">
                  <c:v>25863</c:v>
                </c:pt>
                <c:pt idx="176">
                  <c:v>25568</c:v>
                </c:pt>
                <c:pt idx="177">
                  <c:v>25443</c:v>
                </c:pt>
                <c:pt idx="178">
                  <c:v>25412</c:v>
                </c:pt>
                <c:pt idx="179">
                  <c:v>25206</c:v>
                </c:pt>
                <c:pt idx="180">
                  <c:v>25382</c:v>
                </c:pt>
                <c:pt idx="181">
                  <c:v>25256</c:v>
                </c:pt>
                <c:pt idx="182">
                  <c:v>26128</c:v>
                </c:pt>
                <c:pt idx="183">
                  <c:v>25472</c:v>
                </c:pt>
                <c:pt idx="184">
                  <c:v>26017</c:v>
                </c:pt>
                <c:pt idx="185">
                  <c:v>26826</c:v>
                </c:pt>
                <c:pt idx="186">
                  <c:v>26700</c:v>
                </c:pt>
                <c:pt idx="187">
                  <c:v>27812</c:v>
                </c:pt>
                <c:pt idx="188">
                  <c:v>28787</c:v>
                </c:pt>
                <c:pt idx="189">
                  <c:v>29648</c:v>
                </c:pt>
                <c:pt idx="190">
                  <c:v>30712</c:v>
                </c:pt>
                <c:pt idx="191">
                  <c:v>32037</c:v>
                </c:pt>
                <c:pt idx="192">
                  <c:v>32100</c:v>
                </c:pt>
                <c:pt idx="193">
                  <c:v>33060</c:v>
                </c:pt>
                <c:pt idx="194">
                  <c:v>33152</c:v>
                </c:pt>
                <c:pt idx="195">
                  <c:v>34192</c:v>
                </c:pt>
                <c:pt idx="196">
                  <c:v>34365</c:v>
                </c:pt>
                <c:pt idx="197">
                  <c:v>34436</c:v>
                </c:pt>
                <c:pt idx="198">
                  <c:v>35225</c:v>
                </c:pt>
                <c:pt idx="199">
                  <c:v>35807</c:v>
                </c:pt>
                <c:pt idx="200">
                  <c:v>36023</c:v>
                </c:pt>
                <c:pt idx="201">
                  <c:v>36363</c:v>
                </c:pt>
                <c:pt idx="202">
                  <c:v>36588</c:v>
                </c:pt>
                <c:pt idx="203">
                  <c:v>36961</c:v>
                </c:pt>
                <c:pt idx="204">
                  <c:v>37543</c:v>
                </c:pt>
                <c:pt idx="205">
                  <c:v>37750</c:v>
                </c:pt>
                <c:pt idx="206">
                  <c:v>38537</c:v>
                </c:pt>
                <c:pt idx="207">
                  <c:v>39011</c:v>
                </c:pt>
                <c:pt idx="208">
                  <c:v>40143</c:v>
                </c:pt>
                <c:pt idx="209">
                  <c:v>40645</c:v>
                </c:pt>
                <c:pt idx="210">
                  <c:v>40369</c:v>
                </c:pt>
                <c:pt idx="211">
                  <c:v>41891</c:v>
                </c:pt>
                <c:pt idx="212">
                  <c:v>42837</c:v>
                </c:pt>
                <c:pt idx="213">
                  <c:v>43074</c:v>
                </c:pt>
                <c:pt idx="214">
                  <c:v>44068</c:v>
                </c:pt>
                <c:pt idx="215">
                  <c:v>44291</c:v>
                </c:pt>
                <c:pt idx="216">
                  <c:v>45412</c:v>
                </c:pt>
                <c:pt idx="217">
                  <c:v>45662</c:v>
                </c:pt>
                <c:pt idx="218">
                  <c:v>44801</c:v>
                </c:pt>
                <c:pt idx="219">
                  <c:v>45308</c:v>
                </c:pt>
                <c:pt idx="220">
                  <c:v>45879</c:v>
                </c:pt>
                <c:pt idx="221">
                  <c:v>46447</c:v>
                </c:pt>
                <c:pt idx="222">
                  <c:v>46287</c:v>
                </c:pt>
                <c:pt idx="223">
                  <c:v>45864</c:v>
                </c:pt>
                <c:pt idx="224">
                  <c:v>45957</c:v>
                </c:pt>
                <c:pt idx="225">
                  <c:v>46009</c:v>
                </c:pt>
                <c:pt idx="226">
                  <c:v>44506</c:v>
                </c:pt>
                <c:pt idx="227">
                  <c:v>43901</c:v>
                </c:pt>
                <c:pt idx="228">
                  <c:v>42603</c:v>
                </c:pt>
                <c:pt idx="229">
                  <c:v>41672</c:v>
                </c:pt>
                <c:pt idx="230">
                  <c:v>41955</c:v>
                </c:pt>
                <c:pt idx="231">
                  <c:v>40613</c:v>
                </c:pt>
                <c:pt idx="232">
                  <c:v>39062</c:v>
                </c:pt>
                <c:pt idx="233">
                  <c:v>38576</c:v>
                </c:pt>
                <c:pt idx="234">
                  <c:v>38535</c:v>
                </c:pt>
                <c:pt idx="235">
                  <c:v>37292</c:v>
                </c:pt>
                <c:pt idx="236">
                  <c:v>36425</c:v>
                </c:pt>
                <c:pt idx="237">
                  <c:v>36077</c:v>
                </c:pt>
                <c:pt idx="238">
                  <c:v>36826</c:v>
                </c:pt>
                <c:pt idx="239">
                  <c:v>36603</c:v>
                </c:pt>
                <c:pt idx="240">
                  <c:v>37134</c:v>
                </c:pt>
                <c:pt idx="241">
                  <c:v>38349</c:v>
                </c:pt>
                <c:pt idx="242">
                  <c:v>38749</c:v>
                </c:pt>
                <c:pt idx="243">
                  <c:v>38392</c:v>
                </c:pt>
                <c:pt idx="244">
                  <c:v>36870</c:v>
                </c:pt>
                <c:pt idx="245">
                  <c:v>36486</c:v>
                </c:pt>
                <c:pt idx="246">
                  <c:v>37354</c:v>
                </c:pt>
                <c:pt idx="247">
                  <c:v>36010</c:v>
                </c:pt>
                <c:pt idx="248">
                  <c:v>37145</c:v>
                </c:pt>
                <c:pt idx="249">
                  <c:v>38021</c:v>
                </c:pt>
                <c:pt idx="250">
                  <c:v>38112</c:v>
                </c:pt>
                <c:pt idx="251">
                  <c:v>39101</c:v>
                </c:pt>
                <c:pt idx="252">
                  <c:v>39697</c:v>
                </c:pt>
                <c:pt idx="253">
                  <c:v>39021</c:v>
                </c:pt>
                <c:pt idx="254">
                  <c:v>39525</c:v>
                </c:pt>
                <c:pt idx="255">
                  <c:v>41392</c:v>
                </c:pt>
                <c:pt idx="256">
                  <c:v>43707</c:v>
                </c:pt>
                <c:pt idx="257">
                  <c:v>44958</c:v>
                </c:pt>
                <c:pt idx="258">
                  <c:v>44334</c:v>
                </c:pt>
                <c:pt idx="259">
                  <c:v>45806</c:v>
                </c:pt>
                <c:pt idx="260">
                  <c:v>45824</c:v>
                </c:pt>
                <c:pt idx="261">
                  <c:v>44916</c:v>
                </c:pt>
                <c:pt idx="262">
                  <c:v>46264</c:v>
                </c:pt>
                <c:pt idx="263">
                  <c:v>46558</c:v>
                </c:pt>
                <c:pt idx="264">
                  <c:v>46024</c:v>
                </c:pt>
                <c:pt idx="265">
                  <c:v>45663</c:v>
                </c:pt>
                <c:pt idx="266">
                  <c:v>45559</c:v>
                </c:pt>
                <c:pt idx="267">
                  <c:v>44216</c:v>
                </c:pt>
                <c:pt idx="268">
                  <c:v>43982</c:v>
                </c:pt>
                <c:pt idx="269">
                  <c:v>43332</c:v>
                </c:pt>
                <c:pt idx="270">
                  <c:v>42705</c:v>
                </c:pt>
                <c:pt idx="271">
                  <c:v>42421</c:v>
                </c:pt>
                <c:pt idx="272">
                  <c:v>41223</c:v>
                </c:pt>
                <c:pt idx="273">
                  <c:v>41074</c:v>
                </c:pt>
                <c:pt idx="274">
                  <c:v>38660</c:v>
                </c:pt>
                <c:pt idx="275">
                  <c:v>36646</c:v>
                </c:pt>
                <c:pt idx="276">
                  <c:v>36073</c:v>
                </c:pt>
                <c:pt idx="277">
                  <c:v>35601</c:v>
                </c:pt>
                <c:pt idx="278">
                  <c:v>33866</c:v>
                </c:pt>
                <c:pt idx="279">
                  <c:v>32657</c:v>
                </c:pt>
                <c:pt idx="280">
                  <c:v>30346</c:v>
                </c:pt>
                <c:pt idx="281">
                  <c:v>28564</c:v>
                </c:pt>
                <c:pt idx="282">
                  <c:v>28287</c:v>
                </c:pt>
                <c:pt idx="283">
                  <c:v>26816</c:v>
                </c:pt>
                <c:pt idx="284">
                  <c:v>24872</c:v>
                </c:pt>
                <c:pt idx="285">
                  <c:v>23553</c:v>
                </c:pt>
                <c:pt idx="286">
                  <c:v>23164</c:v>
                </c:pt>
                <c:pt idx="287">
                  <c:v>23396</c:v>
                </c:pt>
                <c:pt idx="288">
                  <c:v>234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DAE-43A6-990A-DB5A2430D194}"/>
            </c:ext>
          </c:extLst>
        </c:ser>
        <c:ser>
          <c:idx val="3"/>
          <c:order val="2"/>
          <c:tx>
            <c:strRef>
              <c:f>kappaleet!$K$3</c:f>
              <c:strCache>
                <c:ptCount val="1"/>
                <c:pt idx="0">
                  <c:v>Valmistuneet (edistetty 12 kk)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kappaleet!$H$40:$H$339</c:f>
              <c:numCache>
                <c:formatCode>m/d/yyyy</c:formatCode>
                <c:ptCount val="300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  <c:pt idx="195">
                  <c:v>42461</c:v>
                </c:pt>
                <c:pt idx="196">
                  <c:v>42491</c:v>
                </c:pt>
                <c:pt idx="197">
                  <c:v>42522</c:v>
                </c:pt>
                <c:pt idx="198">
                  <c:v>42552</c:v>
                </c:pt>
                <c:pt idx="199">
                  <c:v>42583</c:v>
                </c:pt>
                <c:pt idx="200">
                  <c:v>42614</c:v>
                </c:pt>
                <c:pt idx="201">
                  <c:v>42644</c:v>
                </c:pt>
                <c:pt idx="202">
                  <c:v>42675</c:v>
                </c:pt>
                <c:pt idx="203">
                  <c:v>42705</c:v>
                </c:pt>
                <c:pt idx="204">
                  <c:v>42736</c:v>
                </c:pt>
                <c:pt idx="205">
                  <c:v>42767</c:v>
                </c:pt>
                <c:pt idx="206">
                  <c:v>42795</c:v>
                </c:pt>
                <c:pt idx="207">
                  <c:v>42826</c:v>
                </c:pt>
                <c:pt idx="208">
                  <c:v>42856</c:v>
                </c:pt>
                <c:pt idx="209">
                  <c:v>42887</c:v>
                </c:pt>
                <c:pt idx="210">
                  <c:v>42917</c:v>
                </c:pt>
                <c:pt idx="211">
                  <c:v>42948</c:v>
                </c:pt>
                <c:pt idx="212">
                  <c:v>42979</c:v>
                </c:pt>
                <c:pt idx="213">
                  <c:v>43009</c:v>
                </c:pt>
                <c:pt idx="214">
                  <c:v>43040</c:v>
                </c:pt>
                <c:pt idx="215">
                  <c:v>43070</c:v>
                </c:pt>
                <c:pt idx="216">
                  <c:v>43101</c:v>
                </c:pt>
                <c:pt idx="217">
                  <c:v>43132</c:v>
                </c:pt>
                <c:pt idx="218">
                  <c:v>43160</c:v>
                </c:pt>
                <c:pt idx="219">
                  <c:v>43191</c:v>
                </c:pt>
                <c:pt idx="220">
                  <c:v>43221</c:v>
                </c:pt>
                <c:pt idx="221">
                  <c:v>43252</c:v>
                </c:pt>
                <c:pt idx="222">
                  <c:v>43282</c:v>
                </c:pt>
                <c:pt idx="223">
                  <c:v>43313</c:v>
                </c:pt>
                <c:pt idx="224">
                  <c:v>43344</c:v>
                </c:pt>
                <c:pt idx="225">
                  <c:v>43374</c:v>
                </c:pt>
                <c:pt idx="226">
                  <c:v>43405</c:v>
                </c:pt>
                <c:pt idx="227">
                  <c:v>43435</c:v>
                </c:pt>
                <c:pt idx="228">
                  <c:v>43466</c:v>
                </c:pt>
                <c:pt idx="229">
                  <c:v>43497</c:v>
                </c:pt>
                <c:pt idx="230">
                  <c:v>43525</c:v>
                </c:pt>
                <c:pt idx="231">
                  <c:v>43556</c:v>
                </c:pt>
                <c:pt idx="232">
                  <c:v>43586</c:v>
                </c:pt>
                <c:pt idx="233">
                  <c:v>43617</c:v>
                </c:pt>
                <c:pt idx="234">
                  <c:v>43647</c:v>
                </c:pt>
                <c:pt idx="235">
                  <c:v>43678</c:v>
                </c:pt>
                <c:pt idx="236">
                  <c:v>43709</c:v>
                </c:pt>
                <c:pt idx="237">
                  <c:v>43739</c:v>
                </c:pt>
                <c:pt idx="238">
                  <c:v>43770</c:v>
                </c:pt>
                <c:pt idx="239">
                  <c:v>43800</c:v>
                </c:pt>
                <c:pt idx="240">
                  <c:v>43831</c:v>
                </c:pt>
                <c:pt idx="241">
                  <c:v>43862</c:v>
                </c:pt>
                <c:pt idx="242">
                  <c:v>43891</c:v>
                </c:pt>
                <c:pt idx="243">
                  <c:v>43922</c:v>
                </c:pt>
                <c:pt idx="244">
                  <c:v>43952</c:v>
                </c:pt>
                <c:pt idx="245">
                  <c:v>43983</c:v>
                </c:pt>
                <c:pt idx="246">
                  <c:v>44013</c:v>
                </c:pt>
                <c:pt idx="247">
                  <c:v>44044</c:v>
                </c:pt>
                <c:pt idx="248">
                  <c:v>44075</c:v>
                </c:pt>
                <c:pt idx="249">
                  <c:v>44105</c:v>
                </c:pt>
                <c:pt idx="250">
                  <c:v>44136</c:v>
                </c:pt>
                <c:pt idx="251">
                  <c:v>44166</c:v>
                </c:pt>
                <c:pt idx="252">
                  <c:v>44197</c:v>
                </c:pt>
                <c:pt idx="253">
                  <c:v>44228</c:v>
                </c:pt>
                <c:pt idx="254">
                  <c:v>44256</c:v>
                </c:pt>
                <c:pt idx="255">
                  <c:v>44287</c:v>
                </c:pt>
                <c:pt idx="256">
                  <c:v>44317</c:v>
                </c:pt>
                <c:pt idx="257">
                  <c:v>44348</c:v>
                </c:pt>
                <c:pt idx="258">
                  <c:v>44378</c:v>
                </c:pt>
                <c:pt idx="259">
                  <c:v>44409</c:v>
                </c:pt>
                <c:pt idx="260">
                  <c:v>44440</c:v>
                </c:pt>
                <c:pt idx="261">
                  <c:v>44470</c:v>
                </c:pt>
                <c:pt idx="262">
                  <c:v>44501</c:v>
                </c:pt>
                <c:pt idx="263">
                  <c:v>44531</c:v>
                </c:pt>
                <c:pt idx="264">
                  <c:v>44562</c:v>
                </c:pt>
                <c:pt idx="265">
                  <c:v>44593</c:v>
                </c:pt>
                <c:pt idx="266">
                  <c:v>44621</c:v>
                </c:pt>
                <c:pt idx="267">
                  <c:v>44652</c:v>
                </c:pt>
                <c:pt idx="268">
                  <c:v>44682</c:v>
                </c:pt>
                <c:pt idx="269">
                  <c:v>44713</c:v>
                </c:pt>
                <c:pt idx="270">
                  <c:v>44743</c:v>
                </c:pt>
                <c:pt idx="271">
                  <c:v>44774</c:v>
                </c:pt>
                <c:pt idx="272">
                  <c:v>44805</c:v>
                </c:pt>
                <c:pt idx="273">
                  <c:v>44835</c:v>
                </c:pt>
                <c:pt idx="274">
                  <c:v>44866</c:v>
                </c:pt>
                <c:pt idx="275">
                  <c:v>44896</c:v>
                </c:pt>
                <c:pt idx="276">
                  <c:v>44927</c:v>
                </c:pt>
                <c:pt idx="277">
                  <c:v>44958</c:v>
                </c:pt>
                <c:pt idx="278">
                  <c:v>44986</c:v>
                </c:pt>
                <c:pt idx="279">
                  <c:v>45017</c:v>
                </c:pt>
                <c:pt idx="280">
                  <c:v>45047</c:v>
                </c:pt>
                <c:pt idx="281">
                  <c:v>45078</c:v>
                </c:pt>
                <c:pt idx="282">
                  <c:v>45108</c:v>
                </c:pt>
                <c:pt idx="283">
                  <c:v>45139</c:v>
                </c:pt>
                <c:pt idx="284">
                  <c:v>45170</c:v>
                </c:pt>
                <c:pt idx="285">
                  <c:v>45200</c:v>
                </c:pt>
                <c:pt idx="286">
                  <c:v>45231</c:v>
                </c:pt>
                <c:pt idx="287">
                  <c:v>45261</c:v>
                </c:pt>
                <c:pt idx="288">
                  <c:v>45292</c:v>
                </c:pt>
                <c:pt idx="289">
                  <c:v>45323</c:v>
                </c:pt>
                <c:pt idx="290">
                  <c:v>45352</c:v>
                </c:pt>
                <c:pt idx="291">
                  <c:v>45383</c:v>
                </c:pt>
                <c:pt idx="292">
                  <c:v>45413</c:v>
                </c:pt>
                <c:pt idx="293">
                  <c:v>45444</c:v>
                </c:pt>
                <c:pt idx="294">
                  <c:v>45474</c:v>
                </c:pt>
                <c:pt idx="295">
                  <c:v>45505</c:v>
                </c:pt>
                <c:pt idx="296">
                  <c:v>45536</c:v>
                </c:pt>
                <c:pt idx="297">
                  <c:v>45566</c:v>
                </c:pt>
                <c:pt idx="298">
                  <c:v>45597</c:v>
                </c:pt>
                <c:pt idx="299">
                  <c:v>45627</c:v>
                </c:pt>
              </c:numCache>
            </c:numRef>
          </c:cat>
          <c:val>
            <c:numRef>
              <c:f>kappaleet!$K$40:$K$339</c:f>
              <c:numCache>
                <c:formatCode>0</c:formatCode>
                <c:ptCount val="300"/>
                <c:pt idx="0">
                  <c:v>30490</c:v>
                </c:pt>
                <c:pt idx="1">
                  <c:v>30570</c:v>
                </c:pt>
                <c:pt idx="2">
                  <c:v>30722</c:v>
                </c:pt>
                <c:pt idx="3">
                  <c:v>30629</c:v>
                </c:pt>
                <c:pt idx="4">
                  <c:v>30359</c:v>
                </c:pt>
                <c:pt idx="5">
                  <c:v>30497</c:v>
                </c:pt>
                <c:pt idx="6">
                  <c:v>29967</c:v>
                </c:pt>
                <c:pt idx="7">
                  <c:v>30123</c:v>
                </c:pt>
                <c:pt idx="8">
                  <c:v>30618</c:v>
                </c:pt>
                <c:pt idx="9">
                  <c:v>30968</c:v>
                </c:pt>
                <c:pt idx="10">
                  <c:v>30723</c:v>
                </c:pt>
                <c:pt idx="11">
                  <c:v>30537</c:v>
                </c:pt>
                <c:pt idx="12">
                  <c:v>30987</c:v>
                </c:pt>
                <c:pt idx="13">
                  <c:v>31173</c:v>
                </c:pt>
                <c:pt idx="14">
                  <c:v>31183</c:v>
                </c:pt>
                <c:pt idx="15">
                  <c:v>31751</c:v>
                </c:pt>
                <c:pt idx="16">
                  <c:v>32536</c:v>
                </c:pt>
                <c:pt idx="17">
                  <c:v>32878</c:v>
                </c:pt>
                <c:pt idx="18">
                  <c:v>33715</c:v>
                </c:pt>
                <c:pt idx="19">
                  <c:v>34267</c:v>
                </c:pt>
                <c:pt idx="20">
                  <c:v>34622</c:v>
                </c:pt>
                <c:pt idx="21">
                  <c:v>33954</c:v>
                </c:pt>
                <c:pt idx="22">
                  <c:v>34267</c:v>
                </c:pt>
                <c:pt idx="23">
                  <c:v>34963</c:v>
                </c:pt>
                <c:pt idx="24">
                  <c:v>35089</c:v>
                </c:pt>
                <c:pt idx="25">
                  <c:v>35030</c:v>
                </c:pt>
                <c:pt idx="26">
                  <c:v>35117</c:v>
                </c:pt>
                <c:pt idx="27">
                  <c:v>34886</c:v>
                </c:pt>
                <c:pt idx="28">
                  <c:v>34770</c:v>
                </c:pt>
                <c:pt idx="29">
                  <c:v>35042</c:v>
                </c:pt>
                <c:pt idx="30">
                  <c:v>34723</c:v>
                </c:pt>
                <c:pt idx="31">
                  <c:v>34310</c:v>
                </c:pt>
                <c:pt idx="32">
                  <c:v>34017</c:v>
                </c:pt>
                <c:pt idx="33">
                  <c:v>33926</c:v>
                </c:pt>
                <c:pt idx="34">
                  <c:v>33635</c:v>
                </c:pt>
                <c:pt idx="35">
                  <c:v>32307</c:v>
                </c:pt>
                <c:pt idx="36">
                  <c:v>31865</c:v>
                </c:pt>
                <c:pt idx="37">
                  <c:v>31476</c:v>
                </c:pt>
                <c:pt idx="38">
                  <c:v>30793</c:v>
                </c:pt>
                <c:pt idx="39">
                  <c:v>30522</c:v>
                </c:pt>
                <c:pt idx="40">
                  <c:v>30637</c:v>
                </c:pt>
                <c:pt idx="41">
                  <c:v>30347</c:v>
                </c:pt>
                <c:pt idx="42">
                  <c:v>30118</c:v>
                </c:pt>
                <c:pt idx="43">
                  <c:v>29918</c:v>
                </c:pt>
                <c:pt idx="44">
                  <c:v>30072</c:v>
                </c:pt>
                <c:pt idx="45">
                  <c:v>30101</c:v>
                </c:pt>
                <c:pt idx="46">
                  <c:v>29549</c:v>
                </c:pt>
                <c:pt idx="47">
                  <c:v>29378</c:v>
                </c:pt>
                <c:pt idx="48">
                  <c:v>28991</c:v>
                </c:pt>
                <c:pt idx="49">
                  <c:v>28524</c:v>
                </c:pt>
                <c:pt idx="50">
                  <c:v>28220</c:v>
                </c:pt>
                <c:pt idx="51">
                  <c:v>27932</c:v>
                </c:pt>
                <c:pt idx="52">
                  <c:v>27790</c:v>
                </c:pt>
                <c:pt idx="53">
                  <c:v>28192</c:v>
                </c:pt>
                <c:pt idx="54">
                  <c:v>28453</c:v>
                </c:pt>
                <c:pt idx="55">
                  <c:v>28639</c:v>
                </c:pt>
                <c:pt idx="56">
                  <c:v>28632</c:v>
                </c:pt>
                <c:pt idx="57">
                  <c:v>29494</c:v>
                </c:pt>
                <c:pt idx="58">
                  <c:v>29845</c:v>
                </c:pt>
                <c:pt idx="59">
                  <c:v>30091</c:v>
                </c:pt>
                <c:pt idx="60">
                  <c:v>30019</c:v>
                </c:pt>
                <c:pt idx="61">
                  <c:v>30744</c:v>
                </c:pt>
                <c:pt idx="62">
                  <c:v>31343</c:v>
                </c:pt>
                <c:pt idx="63">
                  <c:v>32006</c:v>
                </c:pt>
                <c:pt idx="64">
                  <c:v>31929</c:v>
                </c:pt>
                <c:pt idx="65">
                  <c:v>32142</c:v>
                </c:pt>
                <c:pt idx="66">
                  <c:v>32420</c:v>
                </c:pt>
                <c:pt idx="67">
                  <c:v>32746</c:v>
                </c:pt>
                <c:pt idx="68">
                  <c:v>32674</c:v>
                </c:pt>
                <c:pt idx="69">
                  <c:v>32317</c:v>
                </c:pt>
                <c:pt idx="70">
                  <c:v>32578</c:v>
                </c:pt>
                <c:pt idx="71">
                  <c:v>32983</c:v>
                </c:pt>
                <c:pt idx="72">
                  <c:v>33538</c:v>
                </c:pt>
                <c:pt idx="73">
                  <c:v>33436</c:v>
                </c:pt>
                <c:pt idx="74">
                  <c:v>32967</c:v>
                </c:pt>
                <c:pt idx="75">
                  <c:v>33255</c:v>
                </c:pt>
                <c:pt idx="76">
                  <c:v>33672</c:v>
                </c:pt>
                <c:pt idx="77">
                  <c:v>33963</c:v>
                </c:pt>
                <c:pt idx="78">
                  <c:v>33667</c:v>
                </c:pt>
                <c:pt idx="79">
                  <c:v>33618</c:v>
                </c:pt>
                <c:pt idx="80">
                  <c:v>34231</c:v>
                </c:pt>
                <c:pt idx="81">
                  <c:v>33714</c:v>
                </c:pt>
                <c:pt idx="82">
                  <c:v>33373</c:v>
                </c:pt>
                <c:pt idx="83">
                  <c:v>33222</c:v>
                </c:pt>
                <c:pt idx="84">
                  <c:v>32868</c:v>
                </c:pt>
                <c:pt idx="85">
                  <c:v>32997</c:v>
                </c:pt>
                <c:pt idx="86">
                  <c:v>33602</c:v>
                </c:pt>
                <c:pt idx="87">
                  <c:v>32998</c:v>
                </c:pt>
                <c:pt idx="88">
                  <c:v>32860</c:v>
                </c:pt>
                <c:pt idx="89">
                  <c:v>33224</c:v>
                </c:pt>
                <c:pt idx="90">
                  <c:v>32807</c:v>
                </c:pt>
                <c:pt idx="91">
                  <c:v>33195</c:v>
                </c:pt>
                <c:pt idx="92">
                  <c:v>33178</c:v>
                </c:pt>
                <c:pt idx="93">
                  <c:v>34097</c:v>
                </c:pt>
                <c:pt idx="94">
                  <c:v>34269</c:v>
                </c:pt>
                <c:pt idx="95">
                  <c:v>33573</c:v>
                </c:pt>
                <c:pt idx="96">
                  <c:v>34016</c:v>
                </c:pt>
                <c:pt idx="97">
                  <c:v>33933</c:v>
                </c:pt>
                <c:pt idx="98">
                  <c:v>34720</c:v>
                </c:pt>
                <c:pt idx="99">
                  <c:v>35077</c:v>
                </c:pt>
                <c:pt idx="100">
                  <c:v>35076</c:v>
                </c:pt>
                <c:pt idx="101">
                  <c:v>34206</c:v>
                </c:pt>
                <c:pt idx="102">
                  <c:v>34782</c:v>
                </c:pt>
                <c:pt idx="103">
                  <c:v>34719</c:v>
                </c:pt>
                <c:pt idx="104">
                  <c:v>34379</c:v>
                </c:pt>
                <c:pt idx="105">
                  <c:v>34796</c:v>
                </c:pt>
                <c:pt idx="106">
                  <c:v>34915</c:v>
                </c:pt>
                <c:pt idx="107">
                  <c:v>35248</c:v>
                </c:pt>
                <c:pt idx="108">
                  <c:v>34709</c:v>
                </c:pt>
                <c:pt idx="109">
                  <c:v>34643</c:v>
                </c:pt>
                <c:pt idx="110">
                  <c:v>33443</c:v>
                </c:pt>
                <c:pt idx="111">
                  <c:v>33275</c:v>
                </c:pt>
                <c:pt idx="112">
                  <c:v>33017</c:v>
                </c:pt>
                <c:pt idx="113">
                  <c:v>33119</c:v>
                </c:pt>
                <c:pt idx="114">
                  <c:v>32940</c:v>
                </c:pt>
                <c:pt idx="115">
                  <c:v>32742</c:v>
                </c:pt>
                <c:pt idx="116">
                  <c:v>32979</c:v>
                </c:pt>
                <c:pt idx="117">
                  <c:v>31848</c:v>
                </c:pt>
                <c:pt idx="118">
                  <c:v>31454</c:v>
                </c:pt>
                <c:pt idx="119">
                  <c:v>31002</c:v>
                </c:pt>
                <c:pt idx="120">
                  <c:v>30919</c:v>
                </c:pt>
                <c:pt idx="121">
                  <c:v>30206</c:v>
                </c:pt>
                <c:pt idx="122">
                  <c:v>30089</c:v>
                </c:pt>
                <c:pt idx="123">
                  <c:v>29368</c:v>
                </c:pt>
                <c:pt idx="124">
                  <c:v>28787</c:v>
                </c:pt>
                <c:pt idx="125">
                  <c:v>27537</c:v>
                </c:pt>
                <c:pt idx="126">
                  <c:v>26846</c:v>
                </c:pt>
                <c:pt idx="127">
                  <c:v>25699</c:v>
                </c:pt>
                <c:pt idx="128">
                  <c:v>24532</c:v>
                </c:pt>
                <c:pt idx="129">
                  <c:v>23806</c:v>
                </c:pt>
                <c:pt idx="130">
                  <c:v>23058</c:v>
                </c:pt>
                <c:pt idx="131">
                  <c:v>22061</c:v>
                </c:pt>
                <c:pt idx="132">
                  <c:v>21377</c:v>
                </c:pt>
                <c:pt idx="133">
                  <c:v>21308</c:v>
                </c:pt>
                <c:pt idx="134">
                  <c:v>20607</c:v>
                </c:pt>
                <c:pt idx="135">
                  <c:v>20529</c:v>
                </c:pt>
                <c:pt idx="136">
                  <c:v>20332</c:v>
                </c:pt>
                <c:pt idx="137">
                  <c:v>20269</c:v>
                </c:pt>
                <c:pt idx="138">
                  <c:v>20435</c:v>
                </c:pt>
                <c:pt idx="139">
                  <c:v>21518</c:v>
                </c:pt>
                <c:pt idx="140">
                  <c:v>21969</c:v>
                </c:pt>
                <c:pt idx="141">
                  <c:v>22723</c:v>
                </c:pt>
                <c:pt idx="142">
                  <c:v>23660</c:v>
                </c:pt>
                <c:pt idx="143">
                  <c:v>25077</c:v>
                </c:pt>
                <c:pt idx="144">
                  <c:v>26403</c:v>
                </c:pt>
                <c:pt idx="145">
                  <c:v>27292</c:v>
                </c:pt>
                <c:pt idx="146">
                  <c:v>27979</c:v>
                </c:pt>
                <c:pt idx="147">
                  <c:v>28546</c:v>
                </c:pt>
                <c:pt idx="148">
                  <c:v>29910</c:v>
                </c:pt>
                <c:pt idx="149">
                  <c:v>30973</c:v>
                </c:pt>
                <c:pt idx="150">
                  <c:v>31445</c:v>
                </c:pt>
                <c:pt idx="151">
                  <c:v>31620</c:v>
                </c:pt>
                <c:pt idx="152">
                  <c:v>32157</c:v>
                </c:pt>
                <c:pt idx="153">
                  <c:v>32232</c:v>
                </c:pt>
                <c:pt idx="154">
                  <c:v>32573</c:v>
                </c:pt>
                <c:pt idx="155">
                  <c:v>33332</c:v>
                </c:pt>
                <c:pt idx="156">
                  <c:v>33194</c:v>
                </c:pt>
                <c:pt idx="157">
                  <c:v>33117</c:v>
                </c:pt>
                <c:pt idx="158">
                  <c:v>33333</c:v>
                </c:pt>
                <c:pt idx="159">
                  <c:v>33595</c:v>
                </c:pt>
                <c:pt idx="160">
                  <c:v>33530</c:v>
                </c:pt>
                <c:pt idx="161">
                  <c:v>33586</c:v>
                </c:pt>
                <c:pt idx="162">
                  <c:v>33468</c:v>
                </c:pt>
                <c:pt idx="163">
                  <c:v>33794</c:v>
                </c:pt>
                <c:pt idx="164">
                  <c:v>33827</c:v>
                </c:pt>
                <c:pt idx="165">
                  <c:v>34070</c:v>
                </c:pt>
                <c:pt idx="166">
                  <c:v>34296</c:v>
                </c:pt>
                <c:pt idx="167">
                  <c:v>33632</c:v>
                </c:pt>
                <c:pt idx="168">
                  <c:v>33181</c:v>
                </c:pt>
                <c:pt idx="169">
                  <c:v>32813</c:v>
                </c:pt>
                <c:pt idx="170">
                  <c:v>32762</c:v>
                </c:pt>
                <c:pt idx="171">
                  <c:v>32404</c:v>
                </c:pt>
                <c:pt idx="172">
                  <c:v>31714</c:v>
                </c:pt>
                <c:pt idx="173">
                  <c:v>31035</c:v>
                </c:pt>
                <c:pt idx="174">
                  <c:v>30751</c:v>
                </c:pt>
                <c:pt idx="175">
                  <c:v>30544</c:v>
                </c:pt>
                <c:pt idx="176">
                  <c:v>30502</c:v>
                </c:pt>
                <c:pt idx="177">
                  <c:v>30307</c:v>
                </c:pt>
                <c:pt idx="178">
                  <c:v>30334</c:v>
                </c:pt>
                <c:pt idx="179">
                  <c:v>30122</c:v>
                </c:pt>
                <c:pt idx="180">
                  <c:v>30120</c:v>
                </c:pt>
                <c:pt idx="181">
                  <c:v>29875</c:v>
                </c:pt>
                <c:pt idx="182">
                  <c:v>29579</c:v>
                </c:pt>
                <c:pt idx="183">
                  <c:v>29382</c:v>
                </c:pt>
                <c:pt idx="184">
                  <c:v>29475</c:v>
                </c:pt>
                <c:pt idx="185">
                  <c:v>30589</c:v>
                </c:pt>
                <c:pt idx="186">
                  <c:v>30263</c:v>
                </c:pt>
                <c:pt idx="187">
                  <c:v>30096</c:v>
                </c:pt>
                <c:pt idx="188">
                  <c:v>29323</c:v>
                </c:pt>
                <c:pt idx="189">
                  <c:v>29733</c:v>
                </c:pt>
                <c:pt idx="190">
                  <c:v>28973</c:v>
                </c:pt>
                <c:pt idx="191">
                  <c:v>29181</c:v>
                </c:pt>
                <c:pt idx="192">
                  <c:v>28951</c:v>
                </c:pt>
                <c:pt idx="193">
                  <c:v>28653</c:v>
                </c:pt>
                <c:pt idx="194">
                  <c:v>28531</c:v>
                </c:pt>
                <c:pt idx="195">
                  <c:v>28460</c:v>
                </c:pt>
                <c:pt idx="196">
                  <c:v>28140</c:v>
                </c:pt>
                <c:pt idx="197">
                  <c:v>27381</c:v>
                </c:pt>
                <c:pt idx="198">
                  <c:v>27535</c:v>
                </c:pt>
                <c:pt idx="199">
                  <c:v>27709</c:v>
                </c:pt>
                <c:pt idx="200">
                  <c:v>28230</c:v>
                </c:pt>
                <c:pt idx="201">
                  <c:v>27683</c:v>
                </c:pt>
                <c:pt idx="202">
                  <c:v>27750</c:v>
                </c:pt>
                <c:pt idx="203">
                  <c:v>27363</c:v>
                </c:pt>
                <c:pt idx="204">
                  <c:v>26794</c:v>
                </c:pt>
                <c:pt idx="205">
                  <c:v>27264</c:v>
                </c:pt>
                <c:pt idx="206">
                  <c:v>27175</c:v>
                </c:pt>
                <c:pt idx="207">
                  <c:v>26577</c:v>
                </c:pt>
                <c:pt idx="208">
                  <c:v>26714</c:v>
                </c:pt>
                <c:pt idx="209">
                  <c:v>26873</c:v>
                </c:pt>
                <c:pt idx="210">
                  <c:v>27253</c:v>
                </c:pt>
                <c:pt idx="211">
                  <c:v>27602</c:v>
                </c:pt>
                <c:pt idx="212">
                  <c:v>28259</c:v>
                </c:pt>
                <c:pt idx="213">
                  <c:v>28013</c:v>
                </c:pt>
                <c:pt idx="214">
                  <c:v>29365</c:v>
                </c:pt>
                <c:pt idx="215">
                  <c:v>29855</c:v>
                </c:pt>
                <c:pt idx="216">
                  <c:v>30734</c:v>
                </c:pt>
                <c:pt idx="217">
                  <c:v>31034</c:v>
                </c:pt>
                <c:pt idx="218">
                  <c:v>31625</c:v>
                </c:pt>
                <c:pt idx="219">
                  <c:v>32804</c:v>
                </c:pt>
                <c:pt idx="220">
                  <c:v>33280</c:v>
                </c:pt>
                <c:pt idx="221">
                  <c:v>33854</c:v>
                </c:pt>
                <c:pt idx="222">
                  <c:v>33514</c:v>
                </c:pt>
                <c:pt idx="223">
                  <c:v>34533</c:v>
                </c:pt>
                <c:pt idx="224">
                  <c:v>34350</c:v>
                </c:pt>
                <c:pt idx="225">
                  <c:v>35341</c:v>
                </c:pt>
                <c:pt idx="226">
                  <c:v>34870</c:v>
                </c:pt>
                <c:pt idx="227">
                  <c:v>35110</c:v>
                </c:pt>
                <c:pt idx="228">
                  <c:v>35108</c:v>
                </c:pt>
                <c:pt idx="229">
                  <c:v>35441</c:v>
                </c:pt>
                <c:pt idx="230">
                  <c:v>36488</c:v>
                </c:pt>
                <c:pt idx="231">
                  <c:v>36615</c:v>
                </c:pt>
                <c:pt idx="232">
                  <c:v>36835</c:v>
                </c:pt>
                <c:pt idx="233">
                  <c:v>37669</c:v>
                </c:pt>
                <c:pt idx="234">
                  <c:v>39083</c:v>
                </c:pt>
                <c:pt idx="235">
                  <c:v>39028</c:v>
                </c:pt>
                <c:pt idx="236">
                  <c:v>39946</c:v>
                </c:pt>
                <c:pt idx="237">
                  <c:v>40952</c:v>
                </c:pt>
                <c:pt idx="238">
                  <c:v>41282</c:v>
                </c:pt>
                <c:pt idx="239">
                  <c:v>42403</c:v>
                </c:pt>
                <c:pt idx="240">
                  <c:v>42779</c:v>
                </c:pt>
                <c:pt idx="241">
                  <c:v>43773</c:v>
                </c:pt>
                <c:pt idx="242">
                  <c:v>43036</c:v>
                </c:pt>
                <c:pt idx="243">
                  <c:v>43204</c:v>
                </c:pt>
                <c:pt idx="244">
                  <c:v>43362</c:v>
                </c:pt>
                <c:pt idx="245">
                  <c:v>42824</c:v>
                </c:pt>
                <c:pt idx="246">
                  <c:v>41653</c:v>
                </c:pt>
                <c:pt idx="247">
                  <c:v>42244</c:v>
                </c:pt>
                <c:pt idx="248">
                  <c:v>41434</c:v>
                </c:pt>
                <c:pt idx="249">
                  <c:v>41868</c:v>
                </c:pt>
                <c:pt idx="250">
                  <c:v>42321</c:v>
                </c:pt>
                <c:pt idx="251">
                  <c:v>42575</c:v>
                </c:pt>
                <c:pt idx="252">
                  <c:v>42824</c:v>
                </c:pt>
                <c:pt idx="253">
                  <c:v>41612</c:v>
                </c:pt>
                <c:pt idx="254">
                  <c:v>41391</c:v>
                </c:pt>
                <c:pt idx="255">
                  <c:v>40698</c:v>
                </c:pt>
                <c:pt idx="256">
                  <c:v>40030</c:v>
                </c:pt>
                <c:pt idx="257">
                  <c:v>39836</c:v>
                </c:pt>
                <c:pt idx="258">
                  <c:v>40922</c:v>
                </c:pt>
                <c:pt idx="259">
                  <c:v>40401</c:v>
                </c:pt>
                <c:pt idx="260">
                  <c:v>40914</c:v>
                </c:pt>
                <c:pt idx="261">
                  <c:v>39833</c:v>
                </c:pt>
                <c:pt idx="262">
                  <c:v>39271</c:v>
                </c:pt>
                <c:pt idx="263">
                  <c:v>38539</c:v>
                </c:pt>
                <c:pt idx="264">
                  <c:v>37636</c:v>
                </c:pt>
                <c:pt idx="265">
                  <c:v>37703</c:v>
                </c:pt>
                <c:pt idx="266">
                  <c:v>37939</c:v>
                </c:pt>
                <c:pt idx="267">
                  <c:v>38195</c:v>
                </c:pt>
                <c:pt idx="268">
                  <c:v>38181</c:v>
                </c:pt>
                <c:pt idx="269">
                  <c:v>38081</c:v>
                </c:pt>
                <c:pt idx="270">
                  <c:v>37235</c:v>
                </c:pt>
                <c:pt idx="271">
                  <c:v>37345</c:v>
                </c:pt>
                <c:pt idx="272">
                  <c:v>36896</c:v>
                </c:pt>
                <c:pt idx="273">
                  <c:v>37459</c:v>
                </c:pt>
                <c:pt idx="274">
                  <c:v>37087</c:v>
                </c:pt>
                <c:pt idx="275">
                  <c:v>37210</c:v>
                </c:pt>
                <c:pt idx="276">
                  <c:v>37799</c:v>
                </c:pt>
                <c:pt idx="277">
                  <c:v>37377</c:v>
                </c:pt>
                <c:pt idx="278">
                  <c:v>37506</c:v>
                </c:pt>
                <c:pt idx="279">
                  <c:v>37847</c:v>
                </c:pt>
                <c:pt idx="280">
                  <c:v>38568</c:v>
                </c:pt>
                <c:pt idx="281">
                  <c:v>40053</c:v>
                </c:pt>
                <c:pt idx="282">
                  <c:v>39535</c:v>
                </c:pt>
                <c:pt idx="283">
                  <c:v>38581</c:v>
                </c:pt>
                <c:pt idx="284">
                  <c:v>39824</c:v>
                </c:pt>
                <c:pt idx="285">
                  <c:v>40402</c:v>
                </c:pt>
                <c:pt idx="286">
                  <c:v>41078</c:v>
                </c:pt>
                <c:pt idx="287">
                  <c:v>41522</c:v>
                </c:pt>
                <c:pt idx="288">
                  <c:v>42885</c:v>
                </c:pt>
                <c:pt idx="289">
                  <c:v>43588</c:v>
                </c:pt>
                <c:pt idx="290">
                  <c:v>44373</c:v>
                </c:pt>
                <c:pt idx="291">
                  <c:v>44147</c:v>
                </c:pt>
                <c:pt idx="292">
                  <c:v>44568</c:v>
                </c:pt>
                <c:pt idx="293">
                  <c:v>44017</c:v>
                </c:pt>
                <c:pt idx="294">
                  <c:v>44303</c:v>
                </c:pt>
                <c:pt idx="295">
                  <c:v>45236</c:v>
                </c:pt>
                <c:pt idx="296">
                  <c:v>44390</c:v>
                </c:pt>
                <c:pt idx="297">
                  <c:v>43123</c:v>
                </c:pt>
                <c:pt idx="298">
                  <c:v>42410</c:v>
                </c:pt>
                <c:pt idx="299">
                  <c:v>407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DAE-43A6-990A-DB5A2430D1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70009656"/>
        <c:axId val="1170014336"/>
      </c:lineChart>
      <c:dateAx>
        <c:axId val="1170009656"/>
        <c:scaling>
          <c:orientation val="minMax"/>
        </c:scaling>
        <c:delete val="0"/>
        <c:axPos val="b"/>
        <c:numFmt formatCode="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170014336"/>
        <c:crosses val="autoZero"/>
        <c:auto val="1"/>
        <c:lblOffset val="100"/>
        <c:baseTimeUnit val="months"/>
        <c:majorUnit val="12"/>
        <c:majorTimeUnit val="months"/>
      </c:dateAx>
      <c:valAx>
        <c:axId val="1170014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170009656"/>
        <c:crosses val="autoZero"/>
        <c:crossBetween val="between"/>
      </c:valAx>
      <c:valAx>
        <c:axId val="1170012896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170010736"/>
        <c:crosses val="max"/>
        <c:crossBetween val="between"/>
      </c:valAx>
      <c:dateAx>
        <c:axId val="117001073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170012896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1190891679080655"/>
          <c:w val="1"/>
          <c:h val="8.517243310446792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n-lt"/>
              </a:rPr>
              <a:t>Myymättömiä asuntoja on harvoin liikaa</a:t>
            </a:r>
          </a:p>
          <a:p>
            <a:pPr algn="l"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n-lt"/>
              </a:rPr>
              <a:t>Myymättömät asunnot normaaliin verrattuna (saldoluku)</a:t>
            </a:r>
          </a:p>
        </c:rich>
      </c:tx>
      <c:layout>
        <c:manualLayout>
          <c:xMode val="edge"/>
          <c:yMode val="edge"/>
          <c:x val="9.9630582738698364E-4"/>
          <c:y val="2.8449502133712661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3.1689452159255976E-2"/>
          <c:y val="0.12870890783033345"/>
          <c:w val="0.94244861452044981"/>
          <c:h val="0.7743139077743304"/>
        </c:manualLayout>
      </c:layout>
      <c:areaChart>
        <c:grouping val="stacked"/>
        <c:varyColors val="0"/>
        <c:ser>
          <c:idx val="0"/>
          <c:order val="1"/>
          <c:tx>
            <c:strRef>
              <c:f>myymättömät!$B$3</c:f>
              <c:strCache>
                <c:ptCount val="1"/>
                <c:pt idx="0">
                  <c:v>Myymättömät asunnot normaaliin verrattuna </c:v>
                </c:pt>
              </c:strCache>
            </c:strRef>
          </c:tx>
          <c:spPr>
            <a:gradFill flip="none" rotWithShape="1">
              <a:gsLst>
                <a:gs pos="39000">
                  <a:srgbClr val="C00000">
                    <a:alpha val="66000"/>
                  </a:srgbClr>
                </a:gs>
                <a:gs pos="36000">
                  <a:schemeClr val="accent3"/>
                </a:gs>
              </a:gsLst>
              <a:lin ang="5400000" scaled="1"/>
              <a:tileRect/>
            </a:gradFill>
            <a:ln>
              <a:noFill/>
            </a:ln>
            <a:effectLst/>
          </c:spPr>
          <c:cat>
            <c:numRef>
              <c:f>myymättömät!$A$84:$A$199</c:f>
              <c:numCache>
                <c:formatCode>m/d/yyyy</c:formatCode>
                <c:ptCount val="116"/>
                <c:pt idx="0">
                  <c:v>34700</c:v>
                </c:pt>
                <c:pt idx="1">
                  <c:v>34790</c:v>
                </c:pt>
                <c:pt idx="2">
                  <c:v>34881</c:v>
                </c:pt>
                <c:pt idx="3">
                  <c:v>34973</c:v>
                </c:pt>
                <c:pt idx="4">
                  <c:v>35065</c:v>
                </c:pt>
                <c:pt idx="5">
                  <c:v>35156</c:v>
                </c:pt>
                <c:pt idx="6">
                  <c:v>35247</c:v>
                </c:pt>
                <c:pt idx="7">
                  <c:v>35339</c:v>
                </c:pt>
                <c:pt idx="8">
                  <c:v>35431</c:v>
                </c:pt>
                <c:pt idx="9">
                  <c:v>35521</c:v>
                </c:pt>
                <c:pt idx="10">
                  <c:v>35612</c:v>
                </c:pt>
                <c:pt idx="11">
                  <c:v>35704</c:v>
                </c:pt>
                <c:pt idx="12">
                  <c:v>35796</c:v>
                </c:pt>
                <c:pt idx="13">
                  <c:v>35886</c:v>
                </c:pt>
                <c:pt idx="14">
                  <c:v>35977</c:v>
                </c:pt>
                <c:pt idx="15">
                  <c:v>36069</c:v>
                </c:pt>
                <c:pt idx="16">
                  <c:v>36161</c:v>
                </c:pt>
                <c:pt idx="17">
                  <c:v>36251</c:v>
                </c:pt>
                <c:pt idx="18">
                  <c:v>36342</c:v>
                </c:pt>
                <c:pt idx="19">
                  <c:v>36434</c:v>
                </c:pt>
                <c:pt idx="20">
                  <c:v>36526</c:v>
                </c:pt>
                <c:pt idx="21">
                  <c:v>36617</c:v>
                </c:pt>
                <c:pt idx="22">
                  <c:v>36708</c:v>
                </c:pt>
                <c:pt idx="23">
                  <c:v>36800</c:v>
                </c:pt>
                <c:pt idx="24">
                  <c:v>36892</c:v>
                </c:pt>
                <c:pt idx="25">
                  <c:v>36982</c:v>
                </c:pt>
                <c:pt idx="26">
                  <c:v>37073</c:v>
                </c:pt>
                <c:pt idx="27">
                  <c:v>37165</c:v>
                </c:pt>
                <c:pt idx="28">
                  <c:v>37257</c:v>
                </c:pt>
                <c:pt idx="29">
                  <c:v>37347</c:v>
                </c:pt>
                <c:pt idx="30">
                  <c:v>37438</c:v>
                </c:pt>
                <c:pt idx="31">
                  <c:v>37530</c:v>
                </c:pt>
                <c:pt idx="32">
                  <c:v>37622</c:v>
                </c:pt>
                <c:pt idx="33">
                  <c:v>37712</c:v>
                </c:pt>
                <c:pt idx="34">
                  <c:v>37803</c:v>
                </c:pt>
                <c:pt idx="35">
                  <c:v>37895</c:v>
                </c:pt>
                <c:pt idx="36">
                  <c:v>37987</c:v>
                </c:pt>
                <c:pt idx="37">
                  <c:v>38078</c:v>
                </c:pt>
                <c:pt idx="38">
                  <c:v>38169</c:v>
                </c:pt>
                <c:pt idx="39">
                  <c:v>38261</c:v>
                </c:pt>
                <c:pt idx="40">
                  <c:v>38353</c:v>
                </c:pt>
                <c:pt idx="41">
                  <c:v>38443</c:v>
                </c:pt>
                <c:pt idx="42">
                  <c:v>38534</c:v>
                </c:pt>
                <c:pt idx="43">
                  <c:v>38626</c:v>
                </c:pt>
                <c:pt idx="44">
                  <c:v>38718</c:v>
                </c:pt>
                <c:pt idx="45">
                  <c:v>38808</c:v>
                </c:pt>
                <c:pt idx="46">
                  <c:v>38899</c:v>
                </c:pt>
                <c:pt idx="47">
                  <c:v>38991</c:v>
                </c:pt>
                <c:pt idx="48">
                  <c:v>39083</c:v>
                </c:pt>
                <c:pt idx="49">
                  <c:v>39173</c:v>
                </c:pt>
                <c:pt idx="50">
                  <c:v>39264</c:v>
                </c:pt>
                <c:pt idx="51">
                  <c:v>39356</c:v>
                </c:pt>
                <c:pt idx="52">
                  <c:v>39448</c:v>
                </c:pt>
                <c:pt idx="53">
                  <c:v>39539</c:v>
                </c:pt>
                <c:pt idx="54">
                  <c:v>39630</c:v>
                </c:pt>
                <c:pt idx="55">
                  <c:v>39722</c:v>
                </c:pt>
                <c:pt idx="56">
                  <c:v>39814</c:v>
                </c:pt>
                <c:pt idx="57">
                  <c:v>39904</c:v>
                </c:pt>
                <c:pt idx="58">
                  <c:v>39995</c:v>
                </c:pt>
                <c:pt idx="59">
                  <c:v>40087</c:v>
                </c:pt>
                <c:pt idx="60">
                  <c:v>40179</c:v>
                </c:pt>
                <c:pt idx="61">
                  <c:v>40269</c:v>
                </c:pt>
                <c:pt idx="62">
                  <c:v>40360</c:v>
                </c:pt>
                <c:pt idx="63">
                  <c:v>40452</c:v>
                </c:pt>
                <c:pt idx="64">
                  <c:v>40544</c:v>
                </c:pt>
                <c:pt idx="65">
                  <c:v>40634</c:v>
                </c:pt>
                <c:pt idx="66">
                  <c:v>40725</c:v>
                </c:pt>
                <c:pt idx="67">
                  <c:v>40817</c:v>
                </c:pt>
                <c:pt idx="68">
                  <c:v>40909</c:v>
                </c:pt>
                <c:pt idx="69">
                  <c:v>41000</c:v>
                </c:pt>
                <c:pt idx="70">
                  <c:v>41091</c:v>
                </c:pt>
                <c:pt idx="71">
                  <c:v>41183</c:v>
                </c:pt>
                <c:pt idx="72">
                  <c:v>41275</c:v>
                </c:pt>
                <c:pt idx="73">
                  <c:v>41365</c:v>
                </c:pt>
                <c:pt idx="74">
                  <c:v>41456</c:v>
                </c:pt>
                <c:pt idx="75">
                  <c:v>41548</c:v>
                </c:pt>
                <c:pt idx="76">
                  <c:v>41640</c:v>
                </c:pt>
                <c:pt idx="77">
                  <c:v>41730</c:v>
                </c:pt>
                <c:pt idx="78">
                  <c:v>41821</c:v>
                </c:pt>
                <c:pt idx="79">
                  <c:v>41913</c:v>
                </c:pt>
                <c:pt idx="80">
                  <c:v>42005</c:v>
                </c:pt>
                <c:pt idx="81">
                  <c:v>42095</c:v>
                </c:pt>
                <c:pt idx="82">
                  <c:v>42186</c:v>
                </c:pt>
                <c:pt idx="83">
                  <c:v>42278</c:v>
                </c:pt>
                <c:pt idx="84">
                  <c:v>42370</c:v>
                </c:pt>
                <c:pt idx="85">
                  <c:v>42461</c:v>
                </c:pt>
                <c:pt idx="86">
                  <c:v>42552</c:v>
                </c:pt>
                <c:pt idx="87">
                  <c:v>42644</c:v>
                </c:pt>
                <c:pt idx="88">
                  <c:v>42736</c:v>
                </c:pt>
                <c:pt idx="89">
                  <c:v>42826</c:v>
                </c:pt>
                <c:pt idx="90">
                  <c:v>42917</c:v>
                </c:pt>
                <c:pt idx="91">
                  <c:v>43009</c:v>
                </c:pt>
                <c:pt idx="92">
                  <c:v>43101</c:v>
                </c:pt>
                <c:pt idx="93">
                  <c:v>43191</c:v>
                </c:pt>
                <c:pt idx="94">
                  <c:v>43282</c:v>
                </c:pt>
                <c:pt idx="95">
                  <c:v>43374</c:v>
                </c:pt>
                <c:pt idx="96">
                  <c:v>43466</c:v>
                </c:pt>
                <c:pt idx="97">
                  <c:v>43556</c:v>
                </c:pt>
                <c:pt idx="98">
                  <c:v>43647</c:v>
                </c:pt>
                <c:pt idx="99">
                  <c:v>43739</c:v>
                </c:pt>
                <c:pt idx="100">
                  <c:v>43831</c:v>
                </c:pt>
                <c:pt idx="101">
                  <c:v>43922</c:v>
                </c:pt>
                <c:pt idx="102">
                  <c:v>44013</c:v>
                </c:pt>
                <c:pt idx="103">
                  <c:v>44105</c:v>
                </c:pt>
                <c:pt idx="104">
                  <c:v>44197</c:v>
                </c:pt>
                <c:pt idx="105">
                  <c:v>44287</c:v>
                </c:pt>
                <c:pt idx="106">
                  <c:v>44378</c:v>
                </c:pt>
                <c:pt idx="107">
                  <c:v>44470</c:v>
                </c:pt>
                <c:pt idx="108">
                  <c:v>44562</c:v>
                </c:pt>
                <c:pt idx="109">
                  <c:v>44652</c:v>
                </c:pt>
                <c:pt idx="110">
                  <c:v>44743</c:v>
                </c:pt>
                <c:pt idx="111">
                  <c:v>44835</c:v>
                </c:pt>
                <c:pt idx="112">
                  <c:v>44927</c:v>
                </c:pt>
                <c:pt idx="113">
                  <c:v>45017</c:v>
                </c:pt>
                <c:pt idx="114">
                  <c:v>45108</c:v>
                </c:pt>
                <c:pt idx="115">
                  <c:v>45200</c:v>
                </c:pt>
              </c:numCache>
            </c:numRef>
          </c:cat>
          <c:val>
            <c:numRef>
              <c:f>myymättömät!$B$84:$B$199</c:f>
              <c:numCache>
                <c:formatCode>General</c:formatCode>
                <c:ptCount val="116"/>
                <c:pt idx="0">
                  <c:v>-6.2</c:v>
                </c:pt>
                <c:pt idx="1">
                  <c:v>0.81</c:v>
                </c:pt>
                <c:pt idx="2">
                  <c:v>-3.36</c:v>
                </c:pt>
                <c:pt idx="3">
                  <c:v>-4.87</c:v>
                </c:pt>
                <c:pt idx="4">
                  <c:v>-19.058</c:v>
                </c:pt>
                <c:pt idx="5">
                  <c:v>-21.077000000000002</c:v>
                </c:pt>
                <c:pt idx="6">
                  <c:v>-48.301000000000002</c:v>
                </c:pt>
                <c:pt idx="7">
                  <c:v>-47.082999999999998</c:v>
                </c:pt>
                <c:pt idx="8">
                  <c:v>-59.709000000000003</c:v>
                </c:pt>
                <c:pt idx="9">
                  <c:v>-33.399000000000001</c:v>
                </c:pt>
                <c:pt idx="10">
                  <c:v>-33.484999999999999</c:v>
                </c:pt>
                <c:pt idx="11">
                  <c:v>-47.545999999999999</c:v>
                </c:pt>
                <c:pt idx="12">
                  <c:v>-44.731000000000002</c:v>
                </c:pt>
                <c:pt idx="13">
                  <c:v>-32.311999999999998</c:v>
                </c:pt>
                <c:pt idx="14">
                  <c:v>-48.26</c:v>
                </c:pt>
                <c:pt idx="15">
                  <c:v>-16.488</c:v>
                </c:pt>
                <c:pt idx="16">
                  <c:v>-45.064999999999998</c:v>
                </c:pt>
                <c:pt idx="17">
                  <c:v>-31.898</c:v>
                </c:pt>
                <c:pt idx="18">
                  <c:v>-35.106999999999999</c:v>
                </c:pt>
                <c:pt idx="19">
                  <c:v>-20.388000000000002</c:v>
                </c:pt>
                <c:pt idx="20">
                  <c:v>-39.853000000000002</c:v>
                </c:pt>
                <c:pt idx="21">
                  <c:v>-13.577999999999999</c:v>
                </c:pt>
                <c:pt idx="22">
                  <c:v>9.9250000000000007</c:v>
                </c:pt>
                <c:pt idx="23">
                  <c:v>5.516</c:v>
                </c:pt>
                <c:pt idx="24">
                  <c:v>11.426</c:v>
                </c:pt>
                <c:pt idx="25">
                  <c:v>2.25</c:v>
                </c:pt>
                <c:pt idx="26">
                  <c:v>16.157</c:v>
                </c:pt>
                <c:pt idx="27">
                  <c:v>-13.294</c:v>
                </c:pt>
                <c:pt idx="28">
                  <c:v>-37.991999999999997</c:v>
                </c:pt>
                <c:pt idx="29">
                  <c:v>-40.216000000000001</c:v>
                </c:pt>
                <c:pt idx="30">
                  <c:v>-44.786999999999999</c:v>
                </c:pt>
                <c:pt idx="31">
                  <c:v>-56.715000000000003</c:v>
                </c:pt>
                <c:pt idx="32">
                  <c:v>-45.942</c:v>
                </c:pt>
                <c:pt idx="33">
                  <c:v>-53.124000000000002</c:v>
                </c:pt>
                <c:pt idx="34">
                  <c:v>-40.405999999999999</c:v>
                </c:pt>
                <c:pt idx="35">
                  <c:v>-76.305999999999997</c:v>
                </c:pt>
                <c:pt idx="36">
                  <c:v>-54.793999999999997</c:v>
                </c:pt>
                <c:pt idx="37">
                  <c:v>-53.002000000000002</c:v>
                </c:pt>
                <c:pt idx="38">
                  <c:v>-36.56</c:v>
                </c:pt>
                <c:pt idx="39">
                  <c:v>-48.853999999999999</c:v>
                </c:pt>
                <c:pt idx="40">
                  <c:v>-44.101999999999997</c:v>
                </c:pt>
                <c:pt idx="41">
                  <c:v>-44.628</c:v>
                </c:pt>
                <c:pt idx="42">
                  <c:v>-47.536999999999999</c:v>
                </c:pt>
                <c:pt idx="43">
                  <c:v>-49.795999999999999</c:v>
                </c:pt>
                <c:pt idx="44">
                  <c:v>-48.332000000000001</c:v>
                </c:pt>
                <c:pt idx="45">
                  <c:v>-48.136000000000003</c:v>
                </c:pt>
                <c:pt idx="46">
                  <c:v>-32.381999999999998</c:v>
                </c:pt>
                <c:pt idx="47">
                  <c:v>-10.677</c:v>
                </c:pt>
                <c:pt idx="48">
                  <c:v>-9.4570000000000007</c:v>
                </c:pt>
                <c:pt idx="49">
                  <c:v>9.0310000000000006</c:v>
                </c:pt>
                <c:pt idx="50">
                  <c:v>35.488999999999997</c:v>
                </c:pt>
                <c:pt idx="51">
                  <c:v>35.192</c:v>
                </c:pt>
                <c:pt idx="52">
                  <c:v>-16.625</c:v>
                </c:pt>
                <c:pt idx="53">
                  <c:v>-6.883</c:v>
                </c:pt>
                <c:pt idx="54">
                  <c:v>0.73499999999999999</c:v>
                </c:pt>
                <c:pt idx="55">
                  <c:v>5.4130000000000003</c:v>
                </c:pt>
                <c:pt idx="56">
                  <c:v>41.000999999999998</c:v>
                </c:pt>
                <c:pt idx="57">
                  <c:v>-36.253</c:v>
                </c:pt>
                <c:pt idx="58">
                  <c:v>-52.820999999999998</c:v>
                </c:pt>
                <c:pt idx="59">
                  <c:v>-25.95</c:v>
                </c:pt>
                <c:pt idx="60">
                  <c:v>-43.73</c:v>
                </c:pt>
                <c:pt idx="61">
                  <c:v>-36.676000000000002</c:v>
                </c:pt>
                <c:pt idx="62">
                  <c:v>-44.72</c:v>
                </c:pt>
                <c:pt idx="63">
                  <c:v>-26.062999999999999</c:v>
                </c:pt>
                <c:pt idx="64">
                  <c:v>-44.436999999999998</c:v>
                </c:pt>
                <c:pt idx="65">
                  <c:v>-52.02</c:v>
                </c:pt>
                <c:pt idx="66">
                  <c:v>-26.37</c:v>
                </c:pt>
                <c:pt idx="67">
                  <c:v>-33.869</c:v>
                </c:pt>
                <c:pt idx="68">
                  <c:v>13.256</c:v>
                </c:pt>
                <c:pt idx="69">
                  <c:v>2.532</c:v>
                </c:pt>
                <c:pt idx="70">
                  <c:v>-8.9339999999999993</c:v>
                </c:pt>
                <c:pt idx="71">
                  <c:v>7.7359999999999998</c:v>
                </c:pt>
                <c:pt idx="72">
                  <c:v>3.8290000000000002</c:v>
                </c:pt>
                <c:pt idx="73">
                  <c:v>5.52</c:v>
                </c:pt>
                <c:pt idx="74">
                  <c:v>10.968</c:v>
                </c:pt>
                <c:pt idx="75">
                  <c:v>22.227</c:v>
                </c:pt>
                <c:pt idx="76">
                  <c:v>-13.510999999999999</c:v>
                </c:pt>
                <c:pt idx="77">
                  <c:v>28.626000000000001</c:v>
                </c:pt>
                <c:pt idx="78">
                  <c:v>44.973999999999997</c:v>
                </c:pt>
                <c:pt idx="79">
                  <c:v>29.966999999999999</c:v>
                </c:pt>
                <c:pt idx="80">
                  <c:v>24.446999999999999</c:v>
                </c:pt>
                <c:pt idx="81">
                  <c:v>9.1809999999999992</c:v>
                </c:pt>
                <c:pt idx="82">
                  <c:v>20.425999999999998</c:v>
                </c:pt>
                <c:pt idx="83">
                  <c:v>9.8829999999999991</c:v>
                </c:pt>
                <c:pt idx="84">
                  <c:v>-4.6890000000000001</c:v>
                </c:pt>
                <c:pt idx="85">
                  <c:v>-4.9459999999999997</c:v>
                </c:pt>
                <c:pt idx="86">
                  <c:v>-32.097000000000001</c:v>
                </c:pt>
                <c:pt idx="87">
                  <c:v>-21.463000000000001</c:v>
                </c:pt>
                <c:pt idx="88">
                  <c:v>-18.077999999999999</c:v>
                </c:pt>
                <c:pt idx="89">
                  <c:v>-22.021000000000001</c:v>
                </c:pt>
                <c:pt idx="90">
                  <c:v>-32.256</c:v>
                </c:pt>
                <c:pt idx="91">
                  <c:v>-37.811999999999998</c:v>
                </c:pt>
                <c:pt idx="92">
                  <c:v>-37.158999999999999</c:v>
                </c:pt>
                <c:pt idx="93">
                  <c:v>-40.01</c:v>
                </c:pt>
                <c:pt idx="94">
                  <c:v>-33.326000000000001</c:v>
                </c:pt>
                <c:pt idx="95">
                  <c:v>-3.5750000000000002</c:v>
                </c:pt>
                <c:pt idx="96">
                  <c:v>-9.173</c:v>
                </c:pt>
                <c:pt idx="97">
                  <c:v>-5.3</c:v>
                </c:pt>
                <c:pt idx="98">
                  <c:v>-15.377000000000001</c:v>
                </c:pt>
                <c:pt idx="99">
                  <c:v>-25.86</c:v>
                </c:pt>
                <c:pt idx="100">
                  <c:v>-13.281000000000001</c:v>
                </c:pt>
                <c:pt idx="101">
                  <c:v>-29.105</c:v>
                </c:pt>
                <c:pt idx="102">
                  <c:v>-36.570999999999998</c:v>
                </c:pt>
                <c:pt idx="103">
                  <c:v>-64.02</c:v>
                </c:pt>
                <c:pt idx="104">
                  <c:v>-47.685000000000002</c:v>
                </c:pt>
                <c:pt idx="105">
                  <c:v>-54.796999999999997</c:v>
                </c:pt>
                <c:pt idx="106">
                  <c:v>-64.766000000000005</c:v>
                </c:pt>
                <c:pt idx="107">
                  <c:v>-51.726999999999997</c:v>
                </c:pt>
                <c:pt idx="108">
                  <c:v>-59.524999999999999</c:v>
                </c:pt>
                <c:pt idx="109">
                  <c:v>-53.472000000000001</c:v>
                </c:pt>
                <c:pt idx="110">
                  <c:v>-45.351999999999997</c:v>
                </c:pt>
                <c:pt idx="111">
                  <c:v>-7.024</c:v>
                </c:pt>
                <c:pt idx="112">
                  <c:v>-46.002000000000002</c:v>
                </c:pt>
                <c:pt idx="113">
                  <c:v>12.526999999999999</c:v>
                </c:pt>
                <c:pt idx="114">
                  <c:v>39.914000000000001</c:v>
                </c:pt>
                <c:pt idx="115">
                  <c:v>39.72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EE-45CE-AEA0-552FF2EBAB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42766336"/>
        <c:axId val="642763456"/>
      </c:areaChart>
      <c:areaChart>
        <c:grouping val="stacked"/>
        <c:varyColors val="0"/>
        <c:ser>
          <c:idx val="1"/>
          <c:order val="0"/>
          <c:tx>
            <c:v>BKT</c:v>
          </c:tx>
          <c:spPr>
            <a:solidFill>
              <a:srgbClr val="000000">
                <a:alpha val="60000"/>
              </a:srgbClr>
            </a:solidFill>
            <a:ln>
              <a:noFill/>
            </a:ln>
            <a:effectLst/>
          </c:spPr>
          <c:cat>
            <c:numRef>
              <c:f>myymättömät!$A$84:$A$199</c:f>
              <c:numCache>
                <c:formatCode>m/d/yyyy</c:formatCode>
                <c:ptCount val="116"/>
                <c:pt idx="0">
                  <c:v>34700</c:v>
                </c:pt>
                <c:pt idx="1">
                  <c:v>34790</c:v>
                </c:pt>
                <c:pt idx="2">
                  <c:v>34881</c:v>
                </c:pt>
                <c:pt idx="3">
                  <c:v>34973</c:v>
                </c:pt>
                <c:pt idx="4">
                  <c:v>35065</c:v>
                </c:pt>
                <c:pt idx="5">
                  <c:v>35156</c:v>
                </c:pt>
                <c:pt idx="6">
                  <c:v>35247</c:v>
                </c:pt>
                <c:pt idx="7">
                  <c:v>35339</c:v>
                </c:pt>
                <c:pt idx="8">
                  <c:v>35431</c:v>
                </c:pt>
                <c:pt idx="9">
                  <c:v>35521</c:v>
                </c:pt>
                <c:pt idx="10">
                  <c:v>35612</c:v>
                </c:pt>
                <c:pt idx="11">
                  <c:v>35704</c:v>
                </c:pt>
                <c:pt idx="12">
                  <c:v>35796</c:v>
                </c:pt>
                <c:pt idx="13">
                  <c:v>35886</c:v>
                </c:pt>
                <c:pt idx="14">
                  <c:v>35977</c:v>
                </c:pt>
                <c:pt idx="15">
                  <c:v>36069</c:v>
                </c:pt>
                <c:pt idx="16">
                  <c:v>36161</c:v>
                </c:pt>
                <c:pt idx="17">
                  <c:v>36251</c:v>
                </c:pt>
                <c:pt idx="18">
                  <c:v>36342</c:v>
                </c:pt>
                <c:pt idx="19">
                  <c:v>36434</c:v>
                </c:pt>
                <c:pt idx="20">
                  <c:v>36526</c:v>
                </c:pt>
                <c:pt idx="21">
                  <c:v>36617</c:v>
                </c:pt>
                <c:pt idx="22">
                  <c:v>36708</c:v>
                </c:pt>
                <c:pt idx="23">
                  <c:v>36800</c:v>
                </c:pt>
                <c:pt idx="24">
                  <c:v>36892</c:v>
                </c:pt>
                <c:pt idx="25">
                  <c:v>36982</c:v>
                </c:pt>
                <c:pt idx="26">
                  <c:v>37073</c:v>
                </c:pt>
                <c:pt idx="27">
                  <c:v>37165</c:v>
                </c:pt>
                <c:pt idx="28">
                  <c:v>37257</c:v>
                </c:pt>
                <c:pt idx="29">
                  <c:v>37347</c:v>
                </c:pt>
                <c:pt idx="30">
                  <c:v>37438</c:v>
                </c:pt>
                <c:pt idx="31">
                  <c:v>37530</c:v>
                </c:pt>
                <c:pt idx="32">
                  <c:v>37622</c:v>
                </c:pt>
                <c:pt idx="33">
                  <c:v>37712</c:v>
                </c:pt>
                <c:pt idx="34">
                  <c:v>37803</c:v>
                </c:pt>
                <c:pt idx="35">
                  <c:v>37895</c:v>
                </c:pt>
                <c:pt idx="36">
                  <c:v>37987</c:v>
                </c:pt>
                <c:pt idx="37">
                  <c:v>38078</c:v>
                </c:pt>
                <c:pt idx="38">
                  <c:v>38169</c:v>
                </c:pt>
                <c:pt idx="39">
                  <c:v>38261</c:v>
                </c:pt>
                <c:pt idx="40">
                  <c:v>38353</c:v>
                </c:pt>
                <c:pt idx="41">
                  <c:v>38443</c:v>
                </c:pt>
                <c:pt idx="42">
                  <c:v>38534</c:v>
                </c:pt>
                <c:pt idx="43">
                  <c:v>38626</c:v>
                </c:pt>
                <c:pt idx="44">
                  <c:v>38718</c:v>
                </c:pt>
                <c:pt idx="45">
                  <c:v>38808</c:v>
                </c:pt>
                <c:pt idx="46">
                  <c:v>38899</c:v>
                </c:pt>
                <c:pt idx="47">
                  <c:v>38991</c:v>
                </c:pt>
                <c:pt idx="48">
                  <c:v>39083</c:v>
                </c:pt>
                <c:pt idx="49">
                  <c:v>39173</c:v>
                </c:pt>
                <c:pt idx="50">
                  <c:v>39264</c:v>
                </c:pt>
                <c:pt idx="51">
                  <c:v>39356</c:v>
                </c:pt>
                <c:pt idx="52">
                  <c:v>39448</c:v>
                </c:pt>
                <c:pt idx="53">
                  <c:v>39539</c:v>
                </c:pt>
                <c:pt idx="54">
                  <c:v>39630</c:v>
                </c:pt>
                <c:pt idx="55">
                  <c:v>39722</c:v>
                </c:pt>
                <c:pt idx="56">
                  <c:v>39814</c:v>
                </c:pt>
                <c:pt idx="57">
                  <c:v>39904</c:v>
                </c:pt>
                <c:pt idx="58">
                  <c:v>39995</c:v>
                </c:pt>
                <c:pt idx="59">
                  <c:v>40087</c:v>
                </c:pt>
                <c:pt idx="60">
                  <c:v>40179</c:v>
                </c:pt>
                <c:pt idx="61">
                  <c:v>40269</c:v>
                </c:pt>
                <c:pt idx="62">
                  <c:v>40360</c:v>
                </c:pt>
                <c:pt idx="63">
                  <c:v>40452</c:v>
                </c:pt>
                <c:pt idx="64">
                  <c:v>40544</c:v>
                </c:pt>
                <c:pt idx="65">
                  <c:v>40634</c:v>
                </c:pt>
                <c:pt idx="66">
                  <c:v>40725</c:v>
                </c:pt>
                <c:pt idx="67">
                  <c:v>40817</c:v>
                </c:pt>
                <c:pt idx="68">
                  <c:v>40909</c:v>
                </c:pt>
                <c:pt idx="69">
                  <c:v>41000</c:v>
                </c:pt>
                <c:pt idx="70">
                  <c:v>41091</c:v>
                </c:pt>
                <c:pt idx="71">
                  <c:v>41183</c:v>
                </c:pt>
                <c:pt idx="72">
                  <c:v>41275</c:v>
                </c:pt>
                <c:pt idx="73">
                  <c:v>41365</c:v>
                </c:pt>
                <c:pt idx="74">
                  <c:v>41456</c:v>
                </c:pt>
                <c:pt idx="75">
                  <c:v>41548</c:v>
                </c:pt>
                <c:pt idx="76">
                  <c:v>41640</c:v>
                </c:pt>
                <c:pt idx="77">
                  <c:v>41730</c:v>
                </c:pt>
                <c:pt idx="78">
                  <c:v>41821</c:v>
                </c:pt>
                <c:pt idx="79">
                  <c:v>41913</c:v>
                </c:pt>
                <c:pt idx="80">
                  <c:v>42005</c:v>
                </c:pt>
                <c:pt idx="81">
                  <c:v>42095</c:v>
                </c:pt>
                <c:pt idx="82">
                  <c:v>42186</c:v>
                </c:pt>
                <c:pt idx="83">
                  <c:v>42278</c:v>
                </c:pt>
                <c:pt idx="84">
                  <c:v>42370</c:v>
                </c:pt>
                <c:pt idx="85">
                  <c:v>42461</c:v>
                </c:pt>
                <c:pt idx="86">
                  <c:v>42552</c:v>
                </c:pt>
                <c:pt idx="87">
                  <c:v>42644</c:v>
                </c:pt>
                <c:pt idx="88">
                  <c:v>42736</c:v>
                </c:pt>
                <c:pt idx="89">
                  <c:v>42826</c:v>
                </c:pt>
                <c:pt idx="90">
                  <c:v>42917</c:v>
                </c:pt>
                <c:pt idx="91">
                  <c:v>43009</c:v>
                </c:pt>
                <c:pt idx="92">
                  <c:v>43101</c:v>
                </c:pt>
                <c:pt idx="93">
                  <c:v>43191</c:v>
                </c:pt>
                <c:pt idx="94">
                  <c:v>43282</c:v>
                </c:pt>
                <c:pt idx="95">
                  <c:v>43374</c:v>
                </c:pt>
                <c:pt idx="96">
                  <c:v>43466</c:v>
                </c:pt>
                <c:pt idx="97">
                  <c:v>43556</c:v>
                </c:pt>
                <c:pt idx="98">
                  <c:v>43647</c:v>
                </c:pt>
                <c:pt idx="99">
                  <c:v>43739</c:v>
                </c:pt>
                <c:pt idx="100">
                  <c:v>43831</c:v>
                </c:pt>
                <c:pt idx="101">
                  <c:v>43922</c:v>
                </c:pt>
                <c:pt idx="102">
                  <c:v>44013</c:v>
                </c:pt>
                <c:pt idx="103">
                  <c:v>44105</c:v>
                </c:pt>
                <c:pt idx="104">
                  <c:v>44197</c:v>
                </c:pt>
                <c:pt idx="105">
                  <c:v>44287</c:v>
                </c:pt>
                <c:pt idx="106">
                  <c:v>44378</c:v>
                </c:pt>
                <c:pt idx="107">
                  <c:v>44470</c:v>
                </c:pt>
                <c:pt idx="108">
                  <c:v>44562</c:v>
                </c:pt>
                <c:pt idx="109">
                  <c:v>44652</c:v>
                </c:pt>
                <c:pt idx="110">
                  <c:v>44743</c:v>
                </c:pt>
                <c:pt idx="111">
                  <c:v>44835</c:v>
                </c:pt>
                <c:pt idx="112">
                  <c:v>44927</c:v>
                </c:pt>
                <c:pt idx="113">
                  <c:v>45017</c:v>
                </c:pt>
                <c:pt idx="114">
                  <c:v>45108</c:v>
                </c:pt>
                <c:pt idx="115">
                  <c:v>45200</c:v>
                </c:pt>
              </c:numCache>
            </c:numRef>
          </c:cat>
          <c:val>
            <c:numRef>
              <c:f>myymättömät!$E$84:$E$199</c:f>
              <c:numCache>
                <c:formatCode>0.0</c:formatCode>
                <c:ptCount val="116"/>
                <c:pt idx="0">
                  <c:v>5.2</c:v>
                </c:pt>
                <c:pt idx="1">
                  <c:v>6.7</c:v>
                </c:pt>
                <c:pt idx="2">
                  <c:v>3.6</c:v>
                </c:pt>
                <c:pt idx="3">
                  <c:v>1.6</c:v>
                </c:pt>
                <c:pt idx="4">
                  <c:v>4.4000000000000004</c:v>
                </c:pt>
                <c:pt idx="5">
                  <c:v>1.8</c:v>
                </c:pt>
                <c:pt idx="6">
                  <c:v>3.1</c:v>
                </c:pt>
                <c:pt idx="7">
                  <c:v>5.4</c:v>
                </c:pt>
                <c:pt idx="8">
                  <c:v>2.2999999999999998</c:v>
                </c:pt>
                <c:pt idx="9">
                  <c:v>5.9</c:v>
                </c:pt>
                <c:pt idx="10">
                  <c:v>7.3</c:v>
                </c:pt>
                <c:pt idx="11">
                  <c:v>9.4</c:v>
                </c:pt>
                <c:pt idx="12">
                  <c:v>7.3</c:v>
                </c:pt>
                <c:pt idx="13">
                  <c:v>6</c:v>
                </c:pt>
                <c:pt idx="14">
                  <c:v>5.3</c:v>
                </c:pt>
                <c:pt idx="15">
                  <c:v>3.6</c:v>
                </c:pt>
                <c:pt idx="16">
                  <c:v>6.4</c:v>
                </c:pt>
                <c:pt idx="17">
                  <c:v>4.8</c:v>
                </c:pt>
                <c:pt idx="18">
                  <c:v>3.5</c:v>
                </c:pt>
                <c:pt idx="19">
                  <c:v>3.1</c:v>
                </c:pt>
                <c:pt idx="20">
                  <c:v>6</c:v>
                </c:pt>
                <c:pt idx="21">
                  <c:v>5.3</c:v>
                </c:pt>
                <c:pt idx="22">
                  <c:v>6.1</c:v>
                </c:pt>
                <c:pt idx="23">
                  <c:v>5.7</c:v>
                </c:pt>
                <c:pt idx="24">
                  <c:v>4.2</c:v>
                </c:pt>
                <c:pt idx="25">
                  <c:v>3.5</c:v>
                </c:pt>
                <c:pt idx="26">
                  <c:v>2.4</c:v>
                </c:pt>
                <c:pt idx="27">
                  <c:v>0.6</c:v>
                </c:pt>
                <c:pt idx="28">
                  <c:v>0.3</c:v>
                </c:pt>
                <c:pt idx="29">
                  <c:v>2.4</c:v>
                </c:pt>
                <c:pt idx="30">
                  <c:v>1.4</c:v>
                </c:pt>
                <c:pt idx="31">
                  <c:v>2.6</c:v>
                </c:pt>
                <c:pt idx="32">
                  <c:v>1.2</c:v>
                </c:pt>
                <c:pt idx="33">
                  <c:v>1.4</c:v>
                </c:pt>
                <c:pt idx="34">
                  <c:v>3</c:v>
                </c:pt>
                <c:pt idx="35">
                  <c:v>2.4</c:v>
                </c:pt>
                <c:pt idx="36">
                  <c:v>4.5999999999999996</c:v>
                </c:pt>
                <c:pt idx="37">
                  <c:v>3.6</c:v>
                </c:pt>
                <c:pt idx="38">
                  <c:v>2.9</c:v>
                </c:pt>
                <c:pt idx="39">
                  <c:v>4.9000000000000004</c:v>
                </c:pt>
                <c:pt idx="40">
                  <c:v>4.0999999999999996</c:v>
                </c:pt>
                <c:pt idx="41">
                  <c:v>3.3</c:v>
                </c:pt>
                <c:pt idx="42">
                  <c:v>2.9</c:v>
                </c:pt>
                <c:pt idx="43">
                  <c:v>1.1000000000000001</c:v>
                </c:pt>
                <c:pt idx="44">
                  <c:v>4.5</c:v>
                </c:pt>
                <c:pt idx="45">
                  <c:v>3.7</c:v>
                </c:pt>
                <c:pt idx="46">
                  <c:v>3.8</c:v>
                </c:pt>
                <c:pt idx="47">
                  <c:v>4.2</c:v>
                </c:pt>
                <c:pt idx="48">
                  <c:v>4.2</c:v>
                </c:pt>
                <c:pt idx="49">
                  <c:v>5.7</c:v>
                </c:pt>
                <c:pt idx="50">
                  <c:v>5.2</c:v>
                </c:pt>
                <c:pt idx="51">
                  <c:v>5.9</c:v>
                </c:pt>
                <c:pt idx="52">
                  <c:v>3.1</c:v>
                </c:pt>
                <c:pt idx="53">
                  <c:v>2.1</c:v>
                </c:pt>
                <c:pt idx="54">
                  <c:v>1</c:v>
                </c:pt>
                <c:pt idx="55">
                  <c:v>-2.7</c:v>
                </c:pt>
                <c:pt idx="56">
                  <c:v>-8.9</c:v>
                </c:pt>
                <c:pt idx="57">
                  <c:v>-9.3000000000000007</c:v>
                </c:pt>
                <c:pt idx="58">
                  <c:v>-7.7</c:v>
                </c:pt>
                <c:pt idx="59">
                  <c:v>-6.5</c:v>
                </c:pt>
                <c:pt idx="60">
                  <c:v>0.7</c:v>
                </c:pt>
                <c:pt idx="61">
                  <c:v>3.9</c:v>
                </c:pt>
                <c:pt idx="62">
                  <c:v>2.2999999999999998</c:v>
                </c:pt>
                <c:pt idx="63">
                  <c:v>5.6</c:v>
                </c:pt>
                <c:pt idx="64">
                  <c:v>5.4</c:v>
                </c:pt>
                <c:pt idx="65">
                  <c:v>2</c:v>
                </c:pt>
                <c:pt idx="66">
                  <c:v>2.9</c:v>
                </c:pt>
                <c:pt idx="67">
                  <c:v>0.2</c:v>
                </c:pt>
                <c:pt idx="68">
                  <c:v>0.3</c:v>
                </c:pt>
                <c:pt idx="69">
                  <c:v>-1.5</c:v>
                </c:pt>
                <c:pt idx="70">
                  <c:v>-2</c:v>
                </c:pt>
                <c:pt idx="71">
                  <c:v>-2.4</c:v>
                </c:pt>
                <c:pt idx="72">
                  <c:v>-3.2</c:v>
                </c:pt>
                <c:pt idx="73">
                  <c:v>-0.4</c:v>
                </c:pt>
                <c:pt idx="74">
                  <c:v>0.3</c:v>
                </c:pt>
                <c:pt idx="75">
                  <c:v>-0.3</c:v>
                </c:pt>
                <c:pt idx="76">
                  <c:v>-0.2</c:v>
                </c:pt>
                <c:pt idx="77">
                  <c:v>-0.7</c:v>
                </c:pt>
                <c:pt idx="78">
                  <c:v>-0.4</c:v>
                </c:pt>
                <c:pt idx="79">
                  <c:v>-0.2</c:v>
                </c:pt>
                <c:pt idx="80">
                  <c:v>-0.4</c:v>
                </c:pt>
                <c:pt idx="81">
                  <c:v>0.9</c:v>
                </c:pt>
                <c:pt idx="82">
                  <c:v>0.3</c:v>
                </c:pt>
                <c:pt idx="83">
                  <c:v>1.4</c:v>
                </c:pt>
                <c:pt idx="84">
                  <c:v>3</c:v>
                </c:pt>
                <c:pt idx="85">
                  <c:v>2.6</c:v>
                </c:pt>
                <c:pt idx="86">
                  <c:v>3.1</c:v>
                </c:pt>
                <c:pt idx="87">
                  <c:v>2.6</c:v>
                </c:pt>
                <c:pt idx="88">
                  <c:v>3.5</c:v>
                </c:pt>
                <c:pt idx="89">
                  <c:v>3.2</c:v>
                </c:pt>
                <c:pt idx="90">
                  <c:v>2.9</c:v>
                </c:pt>
                <c:pt idx="91">
                  <c:v>3.2</c:v>
                </c:pt>
                <c:pt idx="92">
                  <c:v>2.4</c:v>
                </c:pt>
                <c:pt idx="93">
                  <c:v>1.5</c:v>
                </c:pt>
                <c:pt idx="94">
                  <c:v>0.6</c:v>
                </c:pt>
                <c:pt idx="95">
                  <c:v>0.1</c:v>
                </c:pt>
                <c:pt idx="96">
                  <c:v>0.4</c:v>
                </c:pt>
                <c:pt idx="97">
                  <c:v>0.9</c:v>
                </c:pt>
                <c:pt idx="98">
                  <c:v>1.9</c:v>
                </c:pt>
                <c:pt idx="99">
                  <c:v>1.7</c:v>
                </c:pt>
                <c:pt idx="100">
                  <c:v>0.2</c:v>
                </c:pt>
                <c:pt idx="101">
                  <c:v>-6.9</c:v>
                </c:pt>
                <c:pt idx="102">
                  <c:v>-2.2999999999999998</c:v>
                </c:pt>
                <c:pt idx="103">
                  <c:v>-0.3</c:v>
                </c:pt>
                <c:pt idx="104">
                  <c:v>-1.8</c:v>
                </c:pt>
                <c:pt idx="105">
                  <c:v>7.3</c:v>
                </c:pt>
                <c:pt idx="106">
                  <c:v>2.9</c:v>
                </c:pt>
                <c:pt idx="107">
                  <c:v>3</c:v>
                </c:pt>
                <c:pt idx="108">
                  <c:v>3.4</c:v>
                </c:pt>
                <c:pt idx="109">
                  <c:v>2.6</c:v>
                </c:pt>
                <c:pt idx="110">
                  <c:v>1.3</c:v>
                </c:pt>
                <c:pt idx="111">
                  <c:v>-0.5</c:v>
                </c:pt>
                <c:pt idx="112">
                  <c:v>0.6</c:v>
                </c:pt>
                <c:pt idx="113">
                  <c:v>-0.6</c:v>
                </c:pt>
                <c:pt idx="114">
                  <c:v>-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EE-45CE-AEA0-552FF2EBAB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03451152"/>
        <c:axId val="903449712"/>
      </c:areaChart>
      <c:dateAx>
        <c:axId val="642766336"/>
        <c:scaling>
          <c:orientation val="minMax"/>
        </c:scaling>
        <c:delete val="0"/>
        <c:axPos val="b"/>
        <c:numFmt formatCode="yy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42763456"/>
        <c:crosses val="autoZero"/>
        <c:auto val="1"/>
        <c:lblOffset val="100"/>
        <c:baseTimeUnit val="months"/>
        <c:majorUnit val="12"/>
        <c:majorTimeUnit val="months"/>
      </c:dateAx>
      <c:valAx>
        <c:axId val="642763456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42766336"/>
        <c:crosses val="autoZero"/>
        <c:crossBetween val="midCat"/>
      </c:valAx>
      <c:valAx>
        <c:axId val="903449712"/>
        <c:scaling>
          <c:orientation val="minMax"/>
        </c:scaling>
        <c:delete val="0"/>
        <c:axPos val="r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903451152"/>
        <c:crosses val="max"/>
        <c:crossBetween val="midCat"/>
      </c:valAx>
      <c:dateAx>
        <c:axId val="903451152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903449712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914526201466203"/>
          <c:y val="0.96859114779618205"/>
          <c:w val="0.38458765499140196"/>
          <c:h val="3.14088522038179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31205821494535"/>
          <c:y val="0.18505590782967177"/>
          <c:w val="0.67737588357010925"/>
          <c:h val="0.62815865136092219"/>
        </c:manualLayout>
      </c:layout>
      <c:doughnutChart>
        <c:varyColors val="1"/>
        <c:ser>
          <c:idx val="0"/>
          <c:order val="0"/>
          <c:tx>
            <c:strRef>
              <c:f>'001_115y_2022'!$C$41</c:f>
              <c:strCache>
                <c:ptCount val="1"/>
                <c:pt idx="0">
                  <c:v>2022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A0C-4E9C-9E6D-7B65A9C770D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A0C-4E9C-9E6D-7B65A9C770D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A0C-4E9C-9E6D-7B65A9C770D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A0C-4E9C-9E6D-7B65A9C770D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A0C-4E9C-9E6D-7B65A9C770D0}"/>
              </c:ext>
            </c:extLst>
          </c:dPt>
          <c:cat>
            <c:strRef>
              <c:f>'001_115y_2022'!$D$23:$H$23</c:f>
              <c:strCache>
                <c:ptCount val="5"/>
                <c:pt idx="0">
                  <c:v>Kaikki omistusasunnot</c:v>
                </c:pt>
                <c:pt idx="1">
                  <c:v>Muu vuokra-asunto</c:v>
                </c:pt>
                <c:pt idx="2">
                  <c:v>Arava tai korkotukivuokra-asunto</c:v>
                </c:pt>
                <c:pt idx="3">
                  <c:v>Asumisoikeusasunnot</c:v>
                </c:pt>
                <c:pt idx="4">
                  <c:v>Muu tai tuntematon hallintaperuste</c:v>
                </c:pt>
              </c:strCache>
            </c:strRef>
          </c:cat>
          <c:val>
            <c:numRef>
              <c:f>'001_115y_2022'!$D$41:$H$41</c:f>
              <c:numCache>
                <c:formatCode>0</c:formatCode>
                <c:ptCount val="5"/>
                <c:pt idx="0">
                  <c:v>68.612902413937093</c:v>
                </c:pt>
                <c:pt idx="1">
                  <c:v>19.55553400052283</c:v>
                </c:pt>
                <c:pt idx="2">
                  <c:v>8.8678996757743427</c:v>
                </c:pt>
                <c:pt idx="3">
                  <c:v>1.815399148074073</c:v>
                </c:pt>
                <c:pt idx="4">
                  <c:v>1.148264761691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A0C-4E9C-9E6D-7B65A9C770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1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F1F3F5"/>
    </a:solidFill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73015873015872"/>
          <c:y val="0.15735788145474461"/>
          <c:w val="0.70723104056437391"/>
          <c:h val="0.65584457229280435"/>
        </c:manualLayout>
      </c:layout>
      <c:doughnutChart>
        <c:varyColors val="1"/>
        <c:ser>
          <c:idx val="0"/>
          <c:order val="0"/>
          <c:tx>
            <c:strRef>
              <c:f>Taul1!$B$1</c:f>
              <c:strCache>
                <c:ptCount val="1"/>
                <c:pt idx="0">
                  <c:v>Myynti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5A2-48AA-8166-3EFBDD255C45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5A2-48AA-8166-3EFBDD255C45}"/>
              </c:ext>
            </c:extLst>
          </c:dPt>
          <c:cat>
            <c:strRef>
              <c:f>Taul1!$A$2:$A$3</c:f>
              <c:strCache>
                <c:ptCount val="2"/>
                <c:pt idx="0">
                  <c:v>Velan osuus asuntokaupasta</c:v>
                </c:pt>
                <c:pt idx="1">
                  <c:v>2. neljännes</c:v>
                </c:pt>
              </c:strCache>
            </c:strRef>
          </c:cat>
          <c:val>
            <c:numRef>
              <c:f>Taul1!$B$2:$B$3</c:f>
              <c:numCache>
                <c:formatCode>General</c:formatCode>
                <c:ptCount val="2"/>
                <c:pt idx="0">
                  <c:v>18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C2-4060-A33B-75E5474F48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4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F1F3F5"/>
    </a:solidFill>
    <a:ln>
      <a:solidFill>
        <a:srgbClr val="EEF0F2"/>
      </a:solidFill>
    </a:ln>
    <a:effectLst/>
  </c:spPr>
  <c:txPr>
    <a:bodyPr/>
    <a:lstStyle/>
    <a:p>
      <a:pPr>
        <a:defRPr/>
      </a:pPr>
      <a:endParaRPr lang="fi-FI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i-FI" sz="1400" b="1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Asuntorakentajan liikkumatila on vähäinen </a:t>
            </a:r>
          </a:p>
          <a:p>
            <a:pPr algn="l">
              <a:defRPr/>
            </a:pPr>
            <a:r>
              <a:rPr lang="fi-FI" sz="1200" b="0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Indeksit 2015=100</a:t>
            </a:r>
          </a:p>
        </c:rich>
      </c:tx>
      <c:layout>
        <c:manualLayout>
          <c:xMode val="edge"/>
          <c:yMode val="edge"/>
          <c:x val="5.9722090976418898E-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>
        <c:manualLayout>
          <c:layoutTarget val="inner"/>
          <c:xMode val="edge"/>
          <c:yMode val="edge"/>
          <c:x val="3.4056183948259607E-2"/>
          <c:y val="0.10678531826480438"/>
          <c:w val="0.94032748697370128"/>
          <c:h val="0.75210179097456331"/>
        </c:manualLayout>
      </c:layout>
      <c:lineChart>
        <c:grouping val="standard"/>
        <c:varyColors val="0"/>
        <c:ser>
          <c:idx val="0"/>
          <c:order val="0"/>
          <c:tx>
            <c:strRef>
              <c:f>'indeksi 2015'!$D$4</c:f>
              <c:strCache>
                <c:ptCount val="1"/>
                <c:pt idx="0">
                  <c:v>Uudet asunnot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indeksi 2015'!$E$3:$AR$3</c:f>
              <c:numCache>
                <c:formatCode>m/d/yyyy</c:formatCode>
                <c:ptCount val="40"/>
                <c:pt idx="0">
                  <c:v>42005</c:v>
                </c:pt>
                <c:pt idx="1">
                  <c:v>42095</c:v>
                </c:pt>
                <c:pt idx="2">
                  <c:v>42186</c:v>
                </c:pt>
                <c:pt idx="3">
                  <c:v>42278</c:v>
                </c:pt>
                <c:pt idx="4">
                  <c:v>42370</c:v>
                </c:pt>
                <c:pt idx="5">
                  <c:v>42461</c:v>
                </c:pt>
                <c:pt idx="6">
                  <c:v>42552</c:v>
                </c:pt>
                <c:pt idx="7">
                  <c:v>42644</c:v>
                </c:pt>
                <c:pt idx="8">
                  <c:v>42736</c:v>
                </c:pt>
                <c:pt idx="9">
                  <c:v>42826</c:v>
                </c:pt>
                <c:pt idx="10">
                  <c:v>42917</c:v>
                </c:pt>
                <c:pt idx="11">
                  <c:v>43009</c:v>
                </c:pt>
                <c:pt idx="12">
                  <c:v>43101</c:v>
                </c:pt>
                <c:pt idx="13">
                  <c:v>43191</c:v>
                </c:pt>
                <c:pt idx="14">
                  <c:v>43282</c:v>
                </c:pt>
                <c:pt idx="15">
                  <c:v>43374</c:v>
                </c:pt>
                <c:pt idx="16">
                  <c:v>43466</c:v>
                </c:pt>
                <c:pt idx="17">
                  <c:v>43556</c:v>
                </c:pt>
                <c:pt idx="18">
                  <c:v>43647</c:v>
                </c:pt>
                <c:pt idx="19">
                  <c:v>43739</c:v>
                </c:pt>
                <c:pt idx="20">
                  <c:v>43831</c:v>
                </c:pt>
                <c:pt idx="21">
                  <c:v>43922</c:v>
                </c:pt>
                <c:pt idx="22">
                  <c:v>44013</c:v>
                </c:pt>
                <c:pt idx="23">
                  <c:v>44105</c:v>
                </c:pt>
                <c:pt idx="24">
                  <c:v>44197</c:v>
                </c:pt>
                <c:pt idx="25">
                  <c:v>44287</c:v>
                </c:pt>
                <c:pt idx="26">
                  <c:v>44378</c:v>
                </c:pt>
                <c:pt idx="27">
                  <c:v>44470</c:v>
                </c:pt>
                <c:pt idx="28">
                  <c:v>44562</c:v>
                </c:pt>
                <c:pt idx="29">
                  <c:v>44652</c:v>
                </c:pt>
                <c:pt idx="30">
                  <c:v>44743</c:v>
                </c:pt>
                <c:pt idx="31">
                  <c:v>44835</c:v>
                </c:pt>
                <c:pt idx="32">
                  <c:v>44927</c:v>
                </c:pt>
                <c:pt idx="33">
                  <c:v>45017</c:v>
                </c:pt>
                <c:pt idx="34">
                  <c:v>45108</c:v>
                </c:pt>
                <c:pt idx="35">
                  <c:v>45200</c:v>
                </c:pt>
                <c:pt idx="36">
                  <c:v>45292</c:v>
                </c:pt>
                <c:pt idx="37">
                  <c:v>45383</c:v>
                </c:pt>
                <c:pt idx="38">
                  <c:v>45474</c:v>
                </c:pt>
                <c:pt idx="39">
                  <c:v>45566</c:v>
                </c:pt>
              </c:numCache>
            </c:numRef>
          </c:cat>
          <c:val>
            <c:numRef>
              <c:f>'indeksi 2015'!$E$4:$AR$4</c:f>
              <c:numCache>
                <c:formatCode>0.0</c:formatCode>
                <c:ptCount val="40"/>
                <c:pt idx="0">
                  <c:v>98.7</c:v>
                </c:pt>
                <c:pt idx="1">
                  <c:v>100.5</c:v>
                </c:pt>
                <c:pt idx="2">
                  <c:v>100.1</c:v>
                </c:pt>
                <c:pt idx="3">
                  <c:v>100.7</c:v>
                </c:pt>
                <c:pt idx="4">
                  <c:v>102.1</c:v>
                </c:pt>
                <c:pt idx="5">
                  <c:v>101.9</c:v>
                </c:pt>
                <c:pt idx="6">
                  <c:v>103.2</c:v>
                </c:pt>
                <c:pt idx="7">
                  <c:v>102.5</c:v>
                </c:pt>
                <c:pt idx="8">
                  <c:v>105.6</c:v>
                </c:pt>
                <c:pt idx="9">
                  <c:v>106.8</c:v>
                </c:pt>
                <c:pt idx="10">
                  <c:v>106.4</c:v>
                </c:pt>
                <c:pt idx="11">
                  <c:v>106.4</c:v>
                </c:pt>
                <c:pt idx="12">
                  <c:v>107.6</c:v>
                </c:pt>
                <c:pt idx="13">
                  <c:v>108.3</c:v>
                </c:pt>
                <c:pt idx="14">
                  <c:v>109.8</c:v>
                </c:pt>
                <c:pt idx="15">
                  <c:v>108.4</c:v>
                </c:pt>
                <c:pt idx="16">
                  <c:v>108.2</c:v>
                </c:pt>
                <c:pt idx="17">
                  <c:v>109.9</c:v>
                </c:pt>
                <c:pt idx="18">
                  <c:v>111.5</c:v>
                </c:pt>
                <c:pt idx="19">
                  <c:v>112.7</c:v>
                </c:pt>
                <c:pt idx="20">
                  <c:v>113.3</c:v>
                </c:pt>
                <c:pt idx="21">
                  <c:v>114</c:v>
                </c:pt>
                <c:pt idx="22">
                  <c:v>113.6</c:v>
                </c:pt>
                <c:pt idx="23">
                  <c:v>117.4</c:v>
                </c:pt>
                <c:pt idx="24">
                  <c:v>119.2</c:v>
                </c:pt>
                <c:pt idx="25">
                  <c:v>121.7</c:v>
                </c:pt>
                <c:pt idx="26">
                  <c:v>121.2</c:v>
                </c:pt>
                <c:pt idx="27">
                  <c:v>122.1</c:v>
                </c:pt>
                <c:pt idx="28">
                  <c:v>126.1</c:v>
                </c:pt>
                <c:pt idx="29">
                  <c:v>126.1</c:v>
                </c:pt>
                <c:pt idx="30">
                  <c:v>128.5</c:v>
                </c:pt>
                <c:pt idx="31">
                  <c:v>124.2</c:v>
                </c:pt>
                <c:pt idx="32">
                  <c:v>123.4</c:v>
                </c:pt>
                <c:pt idx="33">
                  <c:v>130.1</c:v>
                </c:pt>
                <c:pt idx="34">
                  <c:v>123.8</c:v>
                </c:pt>
                <c:pt idx="35">
                  <c:v>122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7E6-4924-99AE-2785DE572A2F}"/>
            </c:ext>
          </c:extLst>
        </c:ser>
        <c:ser>
          <c:idx val="1"/>
          <c:order val="1"/>
          <c:tx>
            <c:strRef>
              <c:f>'indeksi 2015'!$D$5</c:f>
              <c:strCache>
                <c:ptCount val="1"/>
                <c:pt idx="0">
                  <c:v>Vanhat asunnot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indeksi 2015'!$E$3:$AR$3</c:f>
              <c:numCache>
                <c:formatCode>m/d/yyyy</c:formatCode>
                <c:ptCount val="40"/>
                <c:pt idx="0">
                  <c:v>42005</c:v>
                </c:pt>
                <c:pt idx="1">
                  <c:v>42095</c:v>
                </c:pt>
                <c:pt idx="2">
                  <c:v>42186</c:v>
                </c:pt>
                <c:pt idx="3">
                  <c:v>42278</c:v>
                </c:pt>
                <c:pt idx="4">
                  <c:v>42370</c:v>
                </c:pt>
                <c:pt idx="5">
                  <c:v>42461</c:v>
                </c:pt>
                <c:pt idx="6">
                  <c:v>42552</c:v>
                </c:pt>
                <c:pt idx="7">
                  <c:v>42644</c:v>
                </c:pt>
                <c:pt idx="8">
                  <c:v>42736</c:v>
                </c:pt>
                <c:pt idx="9">
                  <c:v>42826</c:v>
                </c:pt>
                <c:pt idx="10">
                  <c:v>42917</c:v>
                </c:pt>
                <c:pt idx="11">
                  <c:v>43009</c:v>
                </c:pt>
                <c:pt idx="12">
                  <c:v>43101</c:v>
                </c:pt>
                <c:pt idx="13">
                  <c:v>43191</c:v>
                </c:pt>
                <c:pt idx="14">
                  <c:v>43282</c:v>
                </c:pt>
                <c:pt idx="15">
                  <c:v>43374</c:v>
                </c:pt>
                <c:pt idx="16">
                  <c:v>43466</c:v>
                </c:pt>
                <c:pt idx="17">
                  <c:v>43556</c:v>
                </c:pt>
                <c:pt idx="18">
                  <c:v>43647</c:v>
                </c:pt>
                <c:pt idx="19">
                  <c:v>43739</c:v>
                </c:pt>
                <c:pt idx="20">
                  <c:v>43831</c:v>
                </c:pt>
                <c:pt idx="21">
                  <c:v>43922</c:v>
                </c:pt>
                <c:pt idx="22">
                  <c:v>44013</c:v>
                </c:pt>
                <c:pt idx="23">
                  <c:v>44105</c:v>
                </c:pt>
                <c:pt idx="24">
                  <c:v>44197</c:v>
                </c:pt>
                <c:pt idx="25">
                  <c:v>44287</c:v>
                </c:pt>
                <c:pt idx="26">
                  <c:v>44378</c:v>
                </c:pt>
                <c:pt idx="27">
                  <c:v>44470</c:v>
                </c:pt>
                <c:pt idx="28">
                  <c:v>44562</c:v>
                </c:pt>
                <c:pt idx="29">
                  <c:v>44652</c:v>
                </c:pt>
                <c:pt idx="30">
                  <c:v>44743</c:v>
                </c:pt>
                <c:pt idx="31">
                  <c:v>44835</c:v>
                </c:pt>
                <c:pt idx="32">
                  <c:v>44927</c:v>
                </c:pt>
                <c:pt idx="33">
                  <c:v>45017</c:v>
                </c:pt>
                <c:pt idx="34">
                  <c:v>45108</c:v>
                </c:pt>
                <c:pt idx="35">
                  <c:v>45200</c:v>
                </c:pt>
                <c:pt idx="36">
                  <c:v>45292</c:v>
                </c:pt>
                <c:pt idx="37">
                  <c:v>45383</c:v>
                </c:pt>
                <c:pt idx="38">
                  <c:v>45474</c:v>
                </c:pt>
                <c:pt idx="39">
                  <c:v>45566</c:v>
                </c:pt>
              </c:numCache>
            </c:numRef>
          </c:cat>
          <c:val>
            <c:numRef>
              <c:f>'indeksi 2015'!$E$5:$AR$5</c:f>
              <c:numCache>
                <c:formatCode>0.0</c:formatCode>
                <c:ptCount val="40"/>
                <c:pt idx="0">
                  <c:v>99.6</c:v>
                </c:pt>
                <c:pt idx="1">
                  <c:v>100.1</c:v>
                </c:pt>
                <c:pt idx="2">
                  <c:v>100.4</c:v>
                </c:pt>
                <c:pt idx="3">
                  <c:v>99.9</c:v>
                </c:pt>
                <c:pt idx="4">
                  <c:v>100.5</c:v>
                </c:pt>
                <c:pt idx="5">
                  <c:v>101.3</c:v>
                </c:pt>
                <c:pt idx="6">
                  <c:v>102</c:v>
                </c:pt>
                <c:pt idx="7">
                  <c:v>101.5</c:v>
                </c:pt>
                <c:pt idx="8">
                  <c:v>101.7</c:v>
                </c:pt>
                <c:pt idx="9">
                  <c:v>103</c:v>
                </c:pt>
                <c:pt idx="10">
                  <c:v>102.6</c:v>
                </c:pt>
                <c:pt idx="11">
                  <c:v>102.5</c:v>
                </c:pt>
                <c:pt idx="12">
                  <c:v>102.7</c:v>
                </c:pt>
                <c:pt idx="13">
                  <c:v>104.4</c:v>
                </c:pt>
                <c:pt idx="14">
                  <c:v>103.9</c:v>
                </c:pt>
                <c:pt idx="15">
                  <c:v>103.9</c:v>
                </c:pt>
                <c:pt idx="16">
                  <c:v>103.8</c:v>
                </c:pt>
                <c:pt idx="17">
                  <c:v>105.1</c:v>
                </c:pt>
                <c:pt idx="18">
                  <c:v>104.3</c:v>
                </c:pt>
                <c:pt idx="19">
                  <c:v>103.3</c:v>
                </c:pt>
                <c:pt idx="20">
                  <c:v>104.5</c:v>
                </c:pt>
                <c:pt idx="21">
                  <c:v>105.4</c:v>
                </c:pt>
                <c:pt idx="22">
                  <c:v>105.7</c:v>
                </c:pt>
                <c:pt idx="23">
                  <c:v>106.2</c:v>
                </c:pt>
                <c:pt idx="24">
                  <c:v>107.6</c:v>
                </c:pt>
                <c:pt idx="25">
                  <c:v>110.2</c:v>
                </c:pt>
                <c:pt idx="26">
                  <c:v>110.1</c:v>
                </c:pt>
                <c:pt idx="27">
                  <c:v>110.4</c:v>
                </c:pt>
                <c:pt idx="28">
                  <c:v>110.8</c:v>
                </c:pt>
                <c:pt idx="29">
                  <c:v>112.3</c:v>
                </c:pt>
                <c:pt idx="30">
                  <c:v>110.4</c:v>
                </c:pt>
                <c:pt idx="31">
                  <c:v>107.1</c:v>
                </c:pt>
                <c:pt idx="32">
                  <c:v>104.6</c:v>
                </c:pt>
                <c:pt idx="33">
                  <c:v>104.4</c:v>
                </c:pt>
                <c:pt idx="34">
                  <c:v>102</c:v>
                </c:pt>
                <c:pt idx="35">
                  <c:v>101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7E6-4924-99AE-2785DE572A2F}"/>
            </c:ext>
          </c:extLst>
        </c:ser>
        <c:ser>
          <c:idx val="2"/>
          <c:order val="2"/>
          <c:tx>
            <c:strRef>
              <c:f>'indeksi 2015'!$D$6</c:f>
              <c:strCache>
                <c:ptCount val="1"/>
                <c:pt idx="0">
                  <c:v>Vuokrat</c:v>
                </c:pt>
              </c:strCache>
            </c:strRef>
          </c:tx>
          <c:spPr>
            <a:ln w="412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indeksi 2015'!$E$3:$AR$3</c:f>
              <c:numCache>
                <c:formatCode>m/d/yyyy</c:formatCode>
                <c:ptCount val="40"/>
                <c:pt idx="0">
                  <c:v>42005</c:v>
                </c:pt>
                <c:pt idx="1">
                  <c:v>42095</c:v>
                </c:pt>
                <c:pt idx="2">
                  <c:v>42186</c:v>
                </c:pt>
                <c:pt idx="3">
                  <c:v>42278</c:v>
                </c:pt>
                <c:pt idx="4">
                  <c:v>42370</c:v>
                </c:pt>
                <c:pt idx="5">
                  <c:v>42461</c:v>
                </c:pt>
                <c:pt idx="6">
                  <c:v>42552</c:v>
                </c:pt>
                <c:pt idx="7">
                  <c:v>42644</c:v>
                </c:pt>
                <c:pt idx="8">
                  <c:v>42736</c:v>
                </c:pt>
                <c:pt idx="9">
                  <c:v>42826</c:v>
                </c:pt>
                <c:pt idx="10">
                  <c:v>42917</c:v>
                </c:pt>
                <c:pt idx="11">
                  <c:v>43009</c:v>
                </c:pt>
                <c:pt idx="12">
                  <c:v>43101</c:v>
                </c:pt>
                <c:pt idx="13">
                  <c:v>43191</c:v>
                </c:pt>
                <c:pt idx="14">
                  <c:v>43282</c:v>
                </c:pt>
                <c:pt idx="15">
                  <c:v>43374</c:v>
                </c:pt>
                <c:pt idx="16">
                  <c:v>43466</c:v>
                </c:pt>
                <c:pt idx="17">
                  <c:v>43556</c:v>
                </c:pt>
                <c:pt idx="18">
                  <c:v>43647</c:v>
                </c:pt>
                <c:pt idx="19">
                  <c:v>43739</c:v>
                </c:pt>
                <c:pt idx="20">
                  <c:v>43831</c:v>
                </c:pt>
                <c:pt idx="21">
                  <c:v>43922</c:v>
                </c:pt>
                <c:pt idx="22">
                  <c:v>44013</c:v>
                </c:pt>
                <c:pt idx="23">
                  <c:v>44105</c:v>
                </c:pt>
                <c:pt idx="24">
                  <c:v>44197</c:v>
                </c:pt>
                <c:pt idx="25">
                  <c:v>44287</c:v>
                </c:pt>
                <c:pt idx="26">
                  <c:v>44378</c:v>
                </c:pt>
                <c:pt idx="27">
                  <c:v>44470</c:v>
                </c:pt>
                <c:pt idx="28">
                  <c:v>44562</c:v>
                </c:pt>
                <c:pt idx="29">
                  <c:v>44652</c:v>
                </c:pt>
                <c:pt idx="30">
                  <c:v>44743</c:v>
                </c:pt>
                <c:pt idx="31">
                  <c:v>44835</c:v>
                </c:pt>
                <c:pt idx="32">
                  <c:v>44927</c:v>
                </c:pt>
                <c:pt idx="33">
                  <c:v>45017</c:v>
                </c:pt>
                <c:pt idx="34">
                  <c:v>45108</c:v>
                </c:pt>
                <c:pt idx="35">
                  <c:v>45200</c:v>
                </c:pt>
                <c:pt idx="36">
                  <c:v>45292</c:v>
                </c:pt>
                <c:pt idx="37">
                  <c:v>45383</c:v>
                </c:pt>
                <c:pt idx="38">
                  <c:v>45474</c:v>
                </c:pt>
                <c:pt idx="39">
                  <c:v>45566</c:v>
                </c:pt>
              </c:numCache>
            </c:numRef>
          </c:cat>
          <c:val>
            <c:numRef>
              <c:f>'indeksi 2015'!$E$6:$AR$6</c:f>
              <c:numCache>
                <c:formatCode>0.0</c:formatCode>
                <c:ptCount val="40"/>
                <c:pt idx="0">
                  <c:v>99.7</c:v>
                </c:pt>
                <c:pt idx="1">
                  <c:v>99.9</c:v>
                </c:pt>
                <c:pt idx="2">
                  <c:v>100.1</c:v>
                </c:pt>
                <c:pt idx="3">
                  <c:v>100.3</c:v>
                </c:pt>
                <c:pt idx="4">
                  <c:v>101.2</c:v>
                </c:pt>
                <c:pt idx="5">
                  <c:v>101.5</c:v>
                </c:pt>
                <c:pt idx="6">
                  <c:v>101.8</c:v>
                </c:pt>
                <c:pt idx="7">
                  <c:v>101.9</c:v>
                </c:pt>
                <c:pt idx="8">
                  <c:v>102.7</c:v>
                </c:pt>
                <c:pt idx="9">
                  <c:v>102.8</c:v>
                </c:pt>
                <c:pt idx="10">
                  <c:v>103.1</c:v>
                </c:pt>
                <c:pt idx="11">
                  <c:v>103.3</c:v>
                </c:pt>
                <c:pt idx="12">
                  <c:v>104</c:v>
                </c:pt>
                <c:pt idx="13">
                  <c:v>104.1</c:v>
                </c:pt>
                <c:pt idx="14">
                  <c:v>104.2</c:v>
                </c:pt>
                <c:pt idx="15">
                  <c:v>104.5</c:v>
                </c:pt>
                <c:pt idx="16">
                  <c:v>105</c:v>
                </c:pt>
                <c:pt idx="17">
                  <c:v>105.4</c:v>
                </c:pt>
                <c:pt idx="18">
                  <c:v>105.6</c:v>
                </c:pt>
                <c:pt idx="19">
                  <c:v>106</c:v>
                </c:pt>
                <c:pt idx="20">
                  <c:v>106.3</c:v>
                </c:pt>
                <c:pt idx="21">
                  <c:v>106.7</c:v>
                </c:pt>
                <c:pt idx="22">
                  <c:v>106.9</c:v>
                </c:pt>
                <c:pt idx="23">
                  <c:v>107</c:v>
                </c:pt>
                <c:pt idx="24">
                  <c:v>107.1</c:v>
                </c:pt>
                <c:pt idx="25">
                  <c:v>107.7</c:v>
                </c:pt>
                <c:pt idx="26">
                  <c:v>107.9</c:v>
                </c:pt>
                <c:pt idx="27">
                  <c:v>107.8</c:v>
                </c:pt>
                <c:pt idx="28">
                  <c:v>107.7</c:v>
                </c:pt>
                <c:pt idx="29">
                  <c:v>108.5</c:v>
                </c:pt>
                <c:pt idx="30">
                  <c:v>108.8</c:v>
                </c:pt>
                <c:pt idx="31">
                  <c:v>109.3</c:v>
                </c:pt>
                <c:pt idx="32">
                  <c:v>109.4</c:v>
                </c:pt>
                <c:pt idx="33">
                  <c:v>109.9</c:v>
                </c:pt>
                <c:pt idx="34">
                  <c:v>110.3</c:v>
                </c:pt>
                <c:pt idx="35">
                  <c:v>110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7E6-4924-99AE-2785DE572A2F}"/>
            </c:ext>
          </c:extLst>
        </c:ser>
        <c:ser>
          <c:idx val="3"/>
          <c:order val="3"/>
          <c:tx>
            <c:strRef>
              <c:f>'indeksi 2015'!$D$7</c:f>
              <c:strCache>
                <c:ptCount val="1"/>
                <c:pt idx="0">
                  <c:v>Kuluttajahinnat</c:v>
                </c:pt>
              </c:strCache>
            </c:strRef>
          </c:tx>
          <c:spPr>
            <a:ln w="28575" cap="rnd">
              <a:solidFill>
                <a:schemeClr val="accent5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indeksi 2015'!$E$3:$AR$3</c:f>
              <c:numCache>
                <c:formatCode>m/d/yyyy</c:formatCode>
                <c:ptCount val="40"/>
                <c:pt idx="0">
                  <c:v>42005</c:v>
                </c:pt>
                <c:pt idx="1">
                  <c:v>42095</c:v>
                </c:pt>
                <c:pt idx="2">
                  <c:v>42186</c:v>
                </c:pt>
                <c:pt idx="3">
                  <c:v>42278</c:v>
                </c:pt>
                <c:pt idx="4">
                  <c:v>42370</c:v>
                </c:pt>
                <c:pt idx="5">
                  <c:v>42461</c:v>
                </c:pt>
                <c:pt idx="6">
                  <c:v>42552</c:v>
                </c:pt>
                <c:pt idx="7">
                  <c:v>42644</c:v>
                </c:pt>
                <c:pt idx="8">
                  <c:v>42736</c:v>
                </c:pt>
                <c:pt idx="9">
                  <c:v>42826</c:v>
                </c:pt>
                <c:pt idx="10">
                  <c:v>42917</c:v>
                </c:pt>
                <c:pt idx="11">
                  <c:v>43009</c:v>
                </c:pt>
                <c:pt idx="12">
                  <c:v>43101</c:v>
                </c:pt>
                <c:pt idx="13">
                  <c:v>43191</c:v>
                </c:pt>
                <c:pt idx="14">
                  <c:v>43282</c:v>
                </c:pt>
                <c:pt idx="15">
                  <c:v>43374</c:v>
                </c:pt>
                <c:pt idx="16">
                  <c:v>43466</c:v>
                </c:pt>
                <c:pt idx="17">
                  <c:v>43556</c:v>
                </c:pt>
                <c:pt idx="18">
                  <c:v>43647</c:v>
                </c:pt>
                <c:pt idx="19">
                  <c:v>43739</c:v>
                </c:pt>
                <c:pt idx="20">
                  <c:v>43831</c:v>
                </c:pt>
                <c:pt idx="21">
                  <c:v>43922</c:v>
                </c:pt>
                <c:pt idx="22">
                  <c:v>44013</c:v>
                </c:pt>
                <c:pt idx="23">
                  <c:v>44105</c:v>
                </c:pt>
                <c:pt idx="24">
                  <c:v>44197</c:v>
                </c:pt>
                <c:pt idx="25">
                  <c:v>44287</c:v>
                </c:pt>
                <c:pt idx="26">
                  <c:v>44378</c:v>
                </c:pt>
                <c:pt idx="27">
                  <c:v>44470</c:v>
                </c:pt>
                <c:pt idx="28">
                  <c:v>44562</c:v>
                </c:pt>
                <c:pt idx="29">
                  <c:v>44652</c:v>
                </c:pt>
                <c:pt idx="30">
                  <c:v>44743</c:v>
                </c:pt>
                <c:pt idx="31">
                  <c:v>44835</c:v>
                </c:pt>
                <c:pt idx="32">
                  <c:v>44927</c:v>
                </c:pt>
                <c:pt idx="33">
                  <c:v>45017</c:v>
                </c:pt>
                <c:pt idx="34">
                  <c:v>45108</c:v>
                </c:pt>
                <c:pt idx="35">
                  <c:v>45200</c:v>
                </c:pt>
                <c:pt idx="36">
                  <c:v>45292</c:v>
                </c:pt>
                <c:pt idx="37">
                  <c:v>45383</c:v>
                </c:pt>
                <c:pt idx="38">
                  <c:v>45474</c:v>
                </c:pt>
                <c:pt idx="39">
                  <c:v>45566</c:v>
                </c:pt>
              </c:numCache>
            </c:numRef>
          </c:cat>
          <c:val>
            <c:numRef>
              <c:f>'indeksi 2015'!$E$7:$AR$7</c:f>
              <c:numCache>
                <c:formatCode>General</c:formatCode>
                <c:ptCount val="40"/>
                <c:pt idx="0">
                  <c:v>99.816666666666677</c:v>
                </c:pt>
                <c:pt idx="1">
                  <c:v>100.05666666666666</c:v>
                </c:pt>
                <c:pt idx="2">
                  <c:v>99.976666666666674</c:v>
                </c:pt>
                <c:pt idx="3">
                  <c:v>100.13</c:v>
                </c:pt>
                <c:pt idx="4">
                  <c:v>99.783333333333317</c:v>
                </c:pt>
                <c:pt idx="5">
                  <c:v>100.36666666666667</c:v>
                </c:pt>
                <c:pt idx="6">
                  <c:v>100.41000000000001</c:v>
                </c:pt>
                <c:pt idx="7">
                  <c:v>100.84666666666665</c:v>
                </c:pt>
                <c:pt idx="8">
                  <c:v>100.74666666666667</c:v>
                </c:pt>
                <c:pt idx="9">
                  <c:v>101.14</c:v>
                </c:pt>
                <c:pt idx="10">
                  <c:v>101.09333333333332</c:v>
                </c:pt>
                <c:pt idx="11">
                  <c:v>101.45333333333333</c:v>
                </c:pt>
                <c:pt idx="12">
                  <c:v>101.48666666666666</c:v>
                </c:pt>
                <c:pt idx="13">
                  <c:v>102.13</c:v>
                </c:pt>
                <c:pt idx="14">
                  <c:v>102.40333333333335</c:v>
                </c:pt>
                <c:pt idx="15">
                  <c:v>102.79666666666667</c:v>
                </c:pt>
                <c:pt idx="16">
                  <c:v>102.66000000000001</c:v>
                </c:pt>
                <c:pt idx="17">
                  <c:v>103.37333333333333</c:v>
                </c:pt>
                <c:pt idx="18">
                  <c:v>103.37333333333333</c:v>
                </c:pt>
                <c:pt idx="19">
                  <c:v>103.59666666666665</c:v>
                </c:pt>
                <c:pt idx="20">
                  <c:v>103.49333333333334</c:v>
                </c:pt>
                <c:pt idx="21">
                  <c:v>103.19333333333333</c:v>
                </c:pt>
                <c:pt idx="22">
                  <c:v>103.70333333333332</c:v>
                </c:pt>
                <c:pt idx="23">
                  <c:v>103.81333333333333</c:v>
                </c:pt>
                <c:pt idx="24">
                  <c:v>104.57666666666667</c:v>
                </c:pt>
                <c:pt idx="25">
                  <c:v>105.34666666666668</c:v>
                </c:pt>
                <c:pt idx="26">
                  <c:v>105.98666666666666</c:v>
                </c:pt>
                <c:pt idx="27">
                  <c:v>107.38333333333333</c:v>
                </c:pt>
                <c:pt idx="28">
                  <c:v>109.70333333333333</c:v>
                </c:pt>
                <c:pt idx="29">
                  <c:v>112.54333333333334</c:v>
                </c:pt>
                <c:pt idx="30">
                  <c:v>114.29666666666667</c:v>
                </c:pt>
                <c:pt idx="31">
                  <c:v>116.90333333333332</c:v>
                </c:pt>
                <c:pt idx="32">
                  <c:v>118.90666666666668</c:v>
                </c:pt>
                <c:pt idx="33">
                  <c:v>120.42</c:v>
                </c:pt>
                <c:pt idx="34">
                  <c:v>121.00333333333333</c:v>
                </c:pt>
                <c:pt idx="35">
                  <c:v>121.46</c:v>
                </c:pt>
                <c:pt idx="36">
                  <c:v>122.23666666666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7E6-4924-99AE-2785DE572A2F}"/>
            </c:ext>
          </c:extLst>
        </c:ser>
        <c:ser>
          <c:idx val="4"/>
          <c:order val="4"/>
          <c:tx>
            <c:strRef>
              <c:f>'indeksi 2015'!$D$8</c:f>
              <c:strCache>
                <c:ptCount val="1"/>
                <c:pt idx="0">
                  <c:v>Rakennuskustannukset </c:v>
                </c:pt>
              </c:strCache>
            </c:strRef>
          </c:tx>
          <c:spPr>
            <a:ln w="28575" cap="rnd">
              <a:solidFill>
                <a:schemeClr val="accent3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indeksi 2015'!$E$3:$AR$3</c:f>
              <c:numCache>
                <c:formatCode>m/d/yyyy</c:formatCode>
                <c:ptCount val="40"/>
                <c:pt idx="0">
                  <c:v>42005</c:v>
                </c:pt>
                <c:pt idx="1">
                  <c:v>42095</c:v>
                </c:pt>
                <c:pt idx="2">
                  <c:v>42186</c:v>
                </c:pt>
                <c:pt idx="3">
                  <c:v>42278</c:v>
                </c:pt>
                <c:pt idx="4">
                  <c:v>42370</c:v>
                </c:pt>
                <c:pt idx="5">
                  <c:v>42461</c:v>
                </c:pt>
                <c:pt idx="6">
                  <c:v>42552</c:v>
                </c:pt>
                <c:pt idx="7">
                  <c:v>42644</c:v>
                </c:pt>
                <c:pt idx="8">
                  <c:v>42736</c:v>
                </c:pt>
                <c:pt idx="9">
                  <c:v>42826</c:v>
                </c:pt>
                <c:pt idx="10">
                  <c:v>42917</c:v>
                </c:pt>
                <c:pt idx="11">
                  <c:v>43009</c:v>
                </c:pt>
                <c:pt idx="12">
                  <c:v>43101</c:v>
                </c:pt>
                <c:pt idx="13">
                  <c:v>43191</c:v>
                </c:pt>
                <c:pt idx="14">
                  <c:v>43282</c:v>
                </c:pt>
                <c:pt idx="15">
                  <c:v>43374</c:v>
                </c:pt>
                <c:pt idx="16">
                  <c:v>43466</c:v>
                </c:pt>
                <c:pt idx="17">
                  <c:v>43556</c:v>
                </c:pt>
                <c:pt idx="18">
                  <c:v>43647</c:v>
                </c:pt>
                <c:pt idx="19">
                  <c:v>43739</c:v>
                </c:pt>
                <c:pt idx="20">
                  <c:v>43831</c:v>
                </c:pt>
                <c:pt idx="21">
                  <c:v>43922</c:v>
                </c:pt>
                <c:pt idx="22">
                  <c:v>44013</c:v>
                </c:pt>
                <c:pt idx="23">
                  <c:v>44105</c:v>
                </c:pt>
                <c:pt idx="24">
                  <c:v>44197</c:v>
                </c:pt>
                <c:pt idx="25">
                  <c:v>44287</c:v>
                </c:pt>
                <c:pt idx="26">
                  <c:v>44378</c:v>
                </c:pt>
                <c:pt idx="27">
                  <c:v>44470</c:v>
                </c:pt>
                <c:pt idx="28">
                  <c:v>44562</c:v>
                </c:pt>
                <c:pt idx="29">
                  <c:v>44652</c:v>
                </c:pt>
                <c:pt idx="30">
                  <c:v>44743</c:v>
                </c:pt>
                <c:pt idx="31">
                  <c:v>44835</c:v>
                </c:pt>
                <c:pt idx="32">
                  <c:v>44927</c:v>
                </c:pt>
                <c:pt idx="33">
                  <c:v>45017</c:v>
                </c:pt>
                <c:pt idx="34">
                  <c:v>45108</c:v>
                </c:pt>
                <c:pt idx="35">
                  <c:v>45200</c:v>
                </c:pt>
                <c:pt idx="36">
                  <c:v>45292</c:v>
                </c:pt>
                <c:pt idx="37">
                  <c:v>45383</c:v>
                </c:pt>
                <c:pt idx="38">
                  <c:v>45474</c:v>
                </c:pt>
                <c:pt idx="39">
                  <c:v>45566</c:v>
                </c:pt>
              </c:numCache>
            </c:numRef>
          </c:cat>
          <c:val>
            <c:numRef>
              <c:f>'indeksi 2015'!$E$8:$AR$8</c:f>
              <c:numCache>
                <c:formatCode>General</c:formatCode>
                <c:ptCount val="40"/>
                <c:pt idx="0">
                  <c:v>99.892456598555839</c:v>
                </c:pt>
                <c:pt idx="1">
                  <c:v>99.892456598555839</c:v>
                </c:pt>
                <c:pt idx="2">
                  <c:v>100.13827008757103</c:v>
                </c:pt>
                <c:pt idx="3">
                  <c:v>100.07681671531725</c:v>
                </c:pt>
                <c:pt idx="4">
                  <c:v>100.04609002919034</c:v>
                </c:pt>
                <c:pt idx="5">
                  <c:v>100.41481026271316</c:v>
                </c:pt>
                <c:pt idx="6">
                  <c:v>100.53771700722075</c:v>
                </c:pt>
                <c:pt idx="7">
                  <c:v>101.06007067137807</c:v>
                </c:pt>
                <c:pt idx="8">
                  <c:v>100.41481026271316</c:v>
                </c:pt>
                <c:pt idx="9">
                  <c:v>100.53771700722075</c:v>
                </c:pt>
                <c:pt idx="10">
                  <c:v>100.78353049623597</c:v>
                </c:pt>
                <c:pt idx="11">
                  <c:v>101.45951759102779</c:v>
                </c:pt>
                <c:pt idx="12">
                  <c:v>101.98187125518511</c:v>
                </c:pt>
                <c:pt idx="13">
                  <c:v>102.75003840835764</c:v>
                </c:pt>
                <c:pt idx="14">
                  <c:v>103.54893224765709</c:v>
                </c:pt>
                <c:pt idx="15">
                  <c:v>103.97910585343369</c:v>
                </c:pt>
                <c:pt idx="16">
                  <c:v>103.9176524811799</c:v>
                </c:pt>
                <c:pt idx="17">
                  <c:v>103.9176524811799</c:v>
                </c:pt>
                <c:pt idx="18">
                  <c:v>104.28637271470272</c:v>
                </c:pt>
                <c:pt idx="19">
                  <c:v>104.34782608695652</c:v>
                </c:pt>
                <c:pt idx="20">
                  <c:v>104.3170994008296</c:v>
                </c:pt>
                <c:pt idx="21">
                  <c:v>103.7332923644185</c:v>
                </c:pt>
                <c:pt idx="22">
                  <c:v>103.36457213089568</c:v>
                </c:pt>
                <c:pt idx="23">
                  <c:v>103.94837916730678</c:v>
                </c:pt>
                <c:pt idx="24">
                  <c:v>105.36180672914425</c:v>
                </c:pt>
                <c:pt idx="25">
                  <c:v>106.99032109387001</c:v>
                </c:pt>
                <c:pt idx="26">
                  <c:v>111.63005069903208</c:v>
                </c:pt>
                <c:pt idx="27">
                  <c:v>114.08818558918419</c:v>
                </c:pt>
                <c:pt idx="28">
                  <c:v>114.85635274235672</c:v>
                </c:pt>
                <c:pt idx="29">
                  <c:v>118.54355507758486</c:v>
                </c:pt>
                <c:pt idx="30">
                  <c:v>120.14134275618373</c:v>
                </c:pt>
                <c:pt idx="31">
                  <c:v>120.41788293132583</c:v>
                </c:pt>
                <c:pt idx="32">
                  <c:v>121.8313104931633</c:v>
                </c:pt>
                <c:pt idx="33">
                  <c:v>121.9849439237978</c:v>
                </c:pt>
                <c:pt idx="34">
                  <c:v>122.59947764633584</c:v>
                </c:pt>
                <c:pt idx="35">
                  <c:v>121.9849439237978</c:v>
                </c:pt>
                <c:pt idx="36">
                  <c:v>121.76985712090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7E6-4924-99AE-2785DE572A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3252048"/>
        <c:axId val="867956576"/>
      </c:lineChart>
      <c:lineChart>
        <c:grouping val="standard"/>
        <c:varyColors val="0"/>
        <c:ser>
          <c:idx val="5"/>
          <c:order val="5"/>
          <c:tx>
            <c:strRef>
              <c:f>'indeksi 2015'!$D$9</c:f>
              <c:strCache>
                <c:ptCount val="1"/>
                <c:pt idx="0">
                  <c:v>Euribor 12 kk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indeksi 2015'!$E$3:$AR$3</c:f>
              <c:numCache>
                <c:formatCode>m/d/yyyy</c:formatCode>
                <c:ptCount val="40"/>
                <c:pt idx="0">
                  <c:v>42005</c:v>
                </c:pt>
                <c:pt idx="1">
                  <c:v>42095</c:v>
                </c:pt>
                <c:pt idx="2">
                  <c:v>42186</c:v>
                </c:pt>
                <c:pt idx="3">
                  <c:v>42278</c:v>
                </c:pt>
                <c:pt idx="4">
                  <c:v>42370</c:v>
                </c:pt>
                <c:pt idx="5">
                  <c:v>42461</c:v>
                </c:pt>
                <c:pt idx="6">
                  <c:v>42552</c:v>
                </c:pt>
                <c:pt idx="7">
                  <c:v>42644</c:v>
                </c:pt>
                <c:pt idx="8">
                  <c:v>42736</c:v>
                </c:pt>
                <c:pt idx="9">
                  <c:v>42826</c:v>
                </c:pt>
                <c:pt idx="10">
                  <c:v>42917</c:v>
                </c:pt>
                <c:pt idx="11">
                  <c:v>43009</c:v>
                </c:pt>
                <c:pt idx="12">
                  <c:v>43101</c:v>
                </c:pt>
                <c:pt idx="13">
                  <c:v>43191</c:v>
                </c:pt>
                <c:pt idx="14">
                  <c:v>43282</c:v>
                </c:pt>
                <c:pt idx="15">
                  <c:v>43374</c:v>
                </c:pt>
                <c:pt idx="16">
                  <c:v>43466</c:v>
                </c:pt>
                <c:pt idx="17">
                  <c:v>43556</c:v>
                </c:pt>
                <c:pt idx="18">
                  <c:v>43647</c:v>
                </c:pt>
                <c:pt idx="19">
                  <c:v>43739</c:v>
                </c:pt>
                <c:pt idx="20">
                  <c:v>43831</c:v>
                </c:pt>
                <c:pt idx="21">
                  <c:v>43922</c:v>
                </c:pt>
                <c:pt idx="22">
                  <c:v>44013</c:v>
                </c:pt>
                <c:pt idx="23">
                  <c:v>44105</c:v>
                </c:pt>
                <c:pt idx="24">
                  <c:v>44197</c:v>
                </c:pt>
                <c:pt idx="25">
                  <c:v>44287</c:v>
                </c:pt>
                <c:pt idx="26">
                  <c:v>44378</c:v>
                </c:pt>
                <c:pt idx="27">
                  <c:v>44470</c:v>
                </c:pt>
                <c:pt idx="28">
                  <c:v>44562</c:v>
                </c:pt>
                <c:pt idx="29">
                  <c:v>44652</c:v>
                </c:pt>
                <c:pt idx="30">
                  <c:v>44743</c:v>
                </c:pt>
                <c:pt idx="31">
                  <c:v>44835</c:v>
                </c:pt>
                <c:pt idx="32">
                  <c:v>44927</c:v>
                </c:pt>
                <c:pt idx="33">
                  <c:v>45017</c:v>
                </c:pt>
                <c:pt idx="34">
                  <c:v>45108</c:v>
                </c:pt>
                <c:pt idx="35">
                  <c:v>45200</c:v>
                </c:pt>
                <c:pt idx="36">
                  <c:v>45292</c:v>
                </c:pt>
                <c:pt idx="37">
                  <c:v>45383</c:v>
                </c:pt>
                <c:pt idx="38">
                  <c:v>45474</c:v>
                </c:pt>
                <c:pt idx="39">
                  <c:v>45566</c:v>
                </c:pt>
              </c:numCache>
            </c:numRef>
          </c:cat>
          <c:val>
            <c:numRef>
              <c:f>'indeksi 2015'!$E$9:$AR$9</c:f>
              <c:numCache>
                <c:formatCode>General</c:formatCode>
                <c:ptCount val="40"/>
                <c:pt idx="0">
                  <c:v>0.25452380952380999</c:v>
                </c:pt>
                <c:pt idx="1">
                  <c:v>0.17019999999999999</c:v>
                </c:pt>
                <c:pt idx="2">
                  <c:v>0.16080303030303</c:v>
                </c:pt>
                <c:pt idx="3">
                  <c:v>8.8287878787878707E-2</c:v>
                </c:pt>
                <c:pt idx="4">
                  <c:v>7.6507936507936502E-3</c:v>
                </c:pt>
                <c:pt idx="5">
                  <c:v>-1.68923076923077E-2</c:v>
                </c:pt>
                <c:pt idx="6">
                  <c:v>-5.3696969696969701E-2</c:v>
                </c:pt>
                <c:pt idx="7">
                  <c:v>-7.4349206349206401E-2</c:v>
                </c:pt>
                <c:pt idx="8">
                  <c:v>-0.103353846153846</c:v>
                </c:pt>
                <c:pt idx="9">
                  <c:v>-0.13259677419354801</c:v>
                </c:pt>
                <c:pt idx="10">
                  <c:v>-0.15947692307692299</c:v>
                </c:pt>
                <c:pt idx="11">
                  <c:v>-0.185984126984127</c:v>
                </c:pt>
                <c:pt idx="12">
                  <c:v>-0.19026984126984101</c:v>
                </c:pt>
                <c:pt idx="13">
                  <c:v>-0.18636507936507901</c:v>
                </c:pt>
                <c:pt idx="14">
                  <c:v>-0.17180000000000001</c:v>
                </c:pt>
                <c:pt idx="15">
                  <c:v>-0.14415625000000001</c:v>
                </c:pt>
                <c:pt idx="16">
                  <c:v>-0.111064516129032</c:v>
                </c:pt>
                <c:pt idx="17">
                  <c:v>-0.14508064516128999</c:v>
                </c:pt>
                <c:pt idx="18">
                  <c:v>-0.32539393939393901</c:v>
                </c:pt>
                <c:pt idx="19">
                  <c:v>-0.28016129032258102</c:v>
                </c:pt>
                <c:pt idx="20">
                  <c:v>-0.26845312500000001</c:v>
                </c:pt>
                <c:pt idx="21">
                  <c:v>-0.11346774193548401</c:v>
                </c:pt>
                <c:pt idx="22">
                  <c:v>-0.34957575757575698</c:v>
                </c:pt>
                <c:pt idx="23">
                  <c:v>-0.48109230769230799</c:v>
                </c:pt>
                <c:pt idx="24">
                  <c:v>-0.496953125</c:v>
                </c:pt>
                <c:pt idx="25">
                  <c:v>-0.48266666666666702</c:v>
                </c:pt>
                <c:pt idx="26">
                  <c:v>-0.49364615384615401</c:v>
                </c:pt>
                <c:pt idx="27">
                  <c:v>-0.48895454545454498</c:v>
                </c:pt>
                <c:pt idx="28">
                  <c:v>-0.34648437500000001</c:v>
                </c:pt>
                <c:pt idx="29">
                  <c:v>0.40161904761904799</c:v>
                </c:pt>
                <c:pt idx="30">
                  <c:v>1.49524242424242</c:v>
                </c:pt>
                <c:pt idx="31">
                  <c:v>2.825328125</c:v>
                </c:pt>
                <c:pt idx="32">
                  <c:v>3.50706153846154</c:v>
                </c:pt>
                <c:pt idx="33">
                  <c:v>3.88301612903226</c:v>
                </c:pt>
                <c:pt idx="34">
                  <c:v>4.1221692307692299</c:v>
                </c:pt>
                <c:pt idx="35">
                  <c:v>3.9668095238095198</c:v>
                </c:pt>
                <c:pt idx="36">
                  <c:v>3.66189230769230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7E6-4924-99AE-2785DE572A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593288"/>
        <c:axId val="399592928"/>
      </c:lineChart>
      <c:dateAx>
        <c:axId val="623252048"/>
        <c:scaling>
          <c:orientation val="minMax"/>
        </c:scaling>
        <c:delete val="0"/>
        <c:axPos val="b"/>
        <c:numFmt formatCode="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867956576"/>
        <c:crosses val="autoZero"/>
        <c:auto val="1"/>
        <c:lblOffset val="100"/>
        <c:baseTimeUnit val="months"/>
        <c:majorUnit val="12"/>
        <c:majorTimeUnit val="months"/>
        <c:minorUnit val="4"/>
      </c:dateAx>
      <c:valAx>
        <c:axId val="867956576"/>
        <c:scaling>
          <c:orientation val="minMax"/>
          <c:min val="9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23252048"/>
        <c:crosses val="autoZero"/>
        <c:crossBetween val="between"/>
      </c:valAx>
      <c:valAx>
        <c:axId val="39959292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99593288"/>
        <c:crosses val="max"/>
        <c:crossBetween val="between"/>
      </c:valAx>
      <c:dateAx>
        <c:axId val="399593288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399592928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2621</cdr:x>
      <cdr:y>0.0671</cdr:y>
    </cdr:from>
    <cdr:to>
      <cdr:x>1</cdr:x>
      <cdr:y>0.11631</cdr:y>
    </cdr:to>
    <cdr:sp macro="" textlink="">
      <cdr:nvSpPr>
        <cdr:cNvPr id="3" name="Tekstiruutu 2">
          <a:extLst xmlns:a="http://schemas.openxmlformats.org/drawingml/2006/main">
            <a:ext uri="{FF2B5EF4-FFF2-40B4-BE49-F238E27FC236}">
              <a16:creationId xmlns:a16="http://schemas.microsoft.com/office/drawing/2014/main" id="{FA6F48EA-76B9-C990-B7F5-06654AA15A1F}"/>
            </a:ext>
          </a:extLst>
        </cdr:cNvPr>
        <cdr:cNvSpPr txBox="1"/>
      </cdr:nvSpPr>
      <cdr:spPr>
        <a:xfrm xmlns:a="http://schemas.openxmlformats.org/drawingml/2006/main">
          <a:off x="9271704" y="291977"/>
          <a:ext cx="1950334" cy="2141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r" rtl="0"/>
          <a:r>
            <a:rPr lang="fi-FI" kern="1200" dirty="0">
              <a:solidFill>
                <a:prstClr val="black">
                  <a:lumMod val="65000"/>
                  <a:lumOff val="35000"/>
                </a:prstClr>
              </a:solidFill>
            </a:rPr>
            <a:t>Nostetut lainat (mrd. euroa)</a:t>
          </a:r>
        </a:p>
        <a:p xmlns:a="http://schemas.openxmlformats.org/drawingml/2006/main">
          <a:pPr algn="r"/>
          <a:endParaRPr lang="fi-FI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734</cdr:x>
      <cdr:y>0.0484</cdr:y>
    </cdr:from>
    <cdr:to>
      <cdr:x>1</cdr:x>
      <cdr:y>0.11292</cdr:y>
    </cdr:to>
    <cdr:sp macro="" textlink="">
      <cdr:nvSpPr>
        <cdr:cNvPr id="3" name="Tekstiruutu 2">
          <a:extLst xmlns:a="http://schemas.openxmlformats.org/drawingml/2006/main">
            <a:ext uri="{FF2B5EF4-FFF2-40B4-BE49-F238E27FC236}">
              <a16:creationId xmlns:a16="http://schemas.microsoft.com/office/drawing/2014/main" id="{6CC945F3-F660-AB36-62BC-BA6FE9D7795E}"/>
            </a:ext>
          </a:extLst>
        </cdr:cNvPr>
        <cdr:cNvSpPr txBox="1"/>
      </cdr:nvSpPr>
      <cdr:spPr>
        <a:xfrm xmlns:a="http://schemas.openxmlformats.org/drawingml/2006/main">
          <a:off x="9935865" y="216049"/>
          <a:ext cx="144016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r"/>
          <a:r>
            <a:rPr lang="fi-FI" kern="1200" dirty="0">
              <a:solidFill>
                <a:prstClr val="black">
                  <a:lumMod val="65000"/>
                  <a:lumOff val="35000"/>
                </a:prstClr>
              </a:solidFill>
            </a:rPr>
            <a:t>BKT vuosimuutos (%)</a:t>
          </a:r>
        </a:p>
        <a:p xmlns:a="http://schemas.openxmlformats.org/drawingml/2006/main">
          <a:endParaRPr lang="fi-FI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87851</cdr:x>
      <cdr:y>0.02069</cdr:y>
    </cdr:from>
    <cdr:to>
      <cdr:x>1</cdr:x>
      <cdr:y>0.08274</cdr:y>
    </cdr:to>
    <cdr:sp macro="" textlink="">
      <cdr:nvSpPr>
        <cdr:cNvPr id="2" name="Tekstiruutu 2">
          <a:extLst xmlns:a="http://schemas.openxmlformats.org/drawingml/2006/main">
            <a:ext uri="{FF2B5EF4-FFF2-40B4-BE49-F238E27FC236}">
              <a16:creationId xmlns:a16="http://schemas.microsoft.com/office/drawing/2014/main" id="{0F714908-5521-BC07-9A92-E765DF8D048A}"/>
            </a:ext>
          </a:extLst>
        </cdr:cNvPr>
        <cdr:cNvSpPr txBox="1"/>
      </cdr:nvSpPr>
      <cdr:spPr>
        <a:xfrm xmlns:a="http://schemas.openxmlformats.org/drawingml/2006/main">
          <a:off x="9993914" y="92363"/>
          <a:ext cx="1382110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fi-FI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i-FI" sz="1200" dirty="0">
              <a:solidFill>
                <a:prstClr val="black">
                  <a:lumMod val="65000"/>
                  <a:lumOff val="35000"/>
                </a:prstClr>
              </a:solidFill>
            </a:rPr>
            <a:t>Euribor 12 kk (%)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0042</cdr:x>
      <cdr:y>0.21089</cdr:y>
    </cdr:from>
    <cdr:to>
      <cdr:x>0.71682</cdr:x>
      <cdr:y>0.28094</cdr:y>
    </cdr:to>
    <cdr:sp macro="" textlink="">
      <cdr:nvSpPr>
        <cdr:cNvPr id="2" name="Tekstiruutu 1">
          <a:extLst xmlns:a="http://schemas.openxmlformats.org/drawingml/2006/main">
            <a:ext uri="{FF2B5EF4-FFF2-40B4-BE49-F238E27FC236}">
              <a16:creationId xmlns:a16="http://schemas.microsoft.com/office/drawing/2014/main" id="{26322474-3712-E205-A38D-4A752258D70B}"/>
            </a:ext>
          </a:extLst>
        </cdr:cNvPr>
        <cdr:cNvSpPr txBox="1"/>
      </cdr:nvSpPr>
      <cdr:spPr>
        <a:xfrm xmlns:a="http://schemas.openxmlformats.org/drawingml/2006/main">
          <a:off x="2161775" y="818804"/>
          <a:ext cx="419100" cy="2719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fi-FI" b="1" dirty="0">
              <a:solidFill>
                <a:schemeClr val="accent2"/>
              </a:solidFill>
            </a:rPr>
            <a:t>PKS</a:t>
          </a:r>
        </a:p>
      </cdr:txBody>
    </cdr:sp>
  </cdr:relSizeAnchor>
  <cdr:relSizeAnchor xmlns:cdr="http://schemas.openxmlformats.org/drawingml/2006/chartDrawing">
    <cdr:from>
      <cdr:x>0.56279</cdr:x>
      <cdr:y>0.3139</cdr:y>
    </cdr:from>
    <cdr:to>
      <cdr:x>0.78783</cdr:x>
      <cdr:y>0.38394</cdr:y>
    </cdr:to>
    <cdr:sp macro="" textlink="">
      <cdr:nvSpPr>
        <cdr:cNvPr id="3" name="Tekstiruutu 1">
          <a:extLst xmlns:a="http://schemas.openxmlformats.org/drawingml/2006/main">
            <a:ext uri="{FF2B5EF4-FFF2-40B4-BE49-F238E27FC236}">
              <a16:creationId xmlns:a16="http://schemas.microsoft.com/office/drawing/2014/main" id="{A1C32788-66DB-C672-C232-33DF82651CCC}"/>
            </a:ext>
          </a:extLst>
        </cdr:cNvPr>
        <cdr:cNvSpPr txBox="1"/>
      </cdr:nvSpPr>
      <cdr:spPr>
        <a:xfrm xmlns:a="http://schemas.openxmlformats.org/drawingml/2006/main">
          <a:off x="2026285" y="1218727"/>
          <a:ext cx="810260" cy="2719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i-FI" b="1" dirty="0">
              <a:solidFill>
                <a:schemeClr val="accent1"/>
              </a:solidFill>
            </a:rPr>
            <a:t>Koko maa</a:t>
          </a:r>
        </a:p>
      </cdr:txBody>
    </cdr:sp>
  </cdr:relSizeAnchor>
  <cdr:relSizeAnchor xmlns:cdr="http://schemas.openxmlformats.org/drawingml/2006/chartDrawing">
    <cdr:from>
      <cdr:x>0.47639</cdr:x>
      <cdr:y>0.5372</cdr:y>
    </cdr:from>
    <cdr:to>
      <cdr:x>0.84085</cdr:x>
      <cdr:y>0.60724</cdr:y>
    </cdr:to>
    <cdr:sp macro="" textlink="">
      <cdr:nvSpPr>
        <cdr:cNvPr id="4" name="Tekstiruutu 1">
          <a:extLst xmlns:a="http://schemas.openxmlformats.org/drawingml/2006/main">
            <a:ext uri="{FF2B5EF4-FFF2-40B4-BE49-F238E27FC236}">
              <a16:creationId xmlns:a16="http://schemas.microsoft.com/office/drawing/2014/main" id="{DC8B3344-A67B-DA7A-AFC4-F9510399CF4A}"/>
            </a:ext>
          </a:extLst>
        </cdr:cNvPr>
        <cdr:cNvSpPr txBox="1"/>
      </cdr:nvSpPr>
      <cdr:spPr>
        <a:xfrm xmlns:a="http://schemas.openxmlformats.org/drawingml/2006/main">
          <a:off x="1715203" y="2085690"/>
          <a:ext cx="1312243" cy="2719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i-FI" b="1" dirty="0">
              <a:solidFill>
                <a:schemeClr val="accent3"/>
              </a:solidFill>
            </a:rPr>
            <a:t>Koko maa pl. pk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01EC89-6A86-4537-8D58-C674C5178451}" type="datetimeFigureOut">
              <a:rPr lang="fi-FI" smtClean="0"/>
              <a:t>21.4.2024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12787A-A4ED-4FCA-A185-61D8790B3E8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39360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300275-FB4C-4A5F-ABB8-2E75868E247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2624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Lainojen lyhennyskulttuuri Suomessa on hyvin kurinalainen. Se tarkoittaa, että suomalaiset eivät siedä korkeaa hintatasoa: </a:t>
            </a:r>
          </a:p>
          <a:p>
            <a:r>
              <a:rPr lang="fi-FI" dirty="0"/>
              <a:t>i) joko rakennetaan koko ajan runsaasti</a:t>
            </a:r>
          </a:p>
          <a:p>
            <a:r>
              <a:rPr lang="fi-FI" dirty="0"/>
              <a:t>ii) otetaan enemmän lainaa </a:t>
            </a:r>
          </a:p>
          <a:p>
            <a:r>
              <a:rPr lang="fi-FI" dirty="0"/>
              <a:t>iii) Helpotetaan asuntolainaamisen ehtoja </a:t>
            </a:r>
            <a:r>
              <a:rPr lang="fi-FI" dirty="0" err="1"/>
              <a:t>tms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12787A-A4ED-4FCA-A185-61D8790B3E80}" type="slidenum">
              <a:rPr lang="fi-FI" smtClean="0"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146025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/>
              <a:t>Punainen on teidän ongelma, vihreä meidän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300275-FB4C-4A5F-ABB8-2E75868E24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97799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12787A-A4ED-4FCA-A185-61D8790B3E80}" type="slidenum">
              <a:rPr lang="fi-FI" smtClean="0"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28560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12787A-A4ED-4FCA-A185-61D8790B3E80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77629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38D51-3F9A-4C4C-B2F4-182CF9CF0C96}" type="slidenum">
              <a:rPr kumimoji="0" lang="fi-FI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i-FI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29990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300275-FB4C-4A5F-ABB8-2E75868E247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046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33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9AAC26C-640E-44FA-B298-142BF359FAC5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269402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F931-B0E0-4812-B52B-95D66697D1AE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29980033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 only 1">
  <p:cSld name="Headline only 1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24"/>
          <p:cNvSpPr txBox="1">
            <a:spLocks noGrp="1"/>
          </p:cNvSpPr>
          <p:nvPr>
            <p:ph type="title"/>
          </p:nvPr>
        </p:nvSpPr>
        <p:spPr>
          <a:xfrm>
            <a:off x="648000" y="451200"/>
            <a:ext cx="11293200" cy="76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475802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 ja sisältö_ei elementtiä 2 rivi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7BBB79-1611-CD46-9712-72A2C535B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1F588-616C-A946-820A-55A0E3CAF4D4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A55B77-4625-6845-BDB1-0288D80EA3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akennusteollisuus RT</a:t>
            </a:r>
            <a:endParaRPr lang="fi-FI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0BEF5-261C-9F43-9C78-7D03DEDEC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6B6A1BD-8207-2D44-A45A-D2B91F71EE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1335733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 dirty="0"/>
              <a:t>&lt;Lisää otsikko</a:t>
            </a:r>
            <a:br>
              <a:rPr lang="fi-FI" noProof="0" dirty="0"/>
            </a:br>
            <a:r>
              <a:rPr lang="fi-FI" noProof="0" dirty="0"/>
              <a:t>kahdelle riville&gt;</a:t>
            </a:r>
            <a:endParaRPr lang="fi-FI" dirty="0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278AEACD-71A2-2A41-867C-99C0587FC0C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34434" y="2139924"/>
            <a:ext cx="9842500" cy="40259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479650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774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57760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933442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702074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869263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9931121-A866-0128-FA48-AD9BBB41210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en-GB" err="1"/>
              <a:t>Lisää</a:t>
            </a:r>
            <a:r>
              <a:rPr lang="en-GB"/>
              <a:t> </a:t>
            </a:r>
            <a:r>
              <a:rPr lang="en-GB" err="1"/>
              <a:t>kuva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738664"/>
          </a:xfrm>
        </p:spPr>
        <p:txBody>
          <a:bodyPr anchor="t" anchorCtr="0">
            <a:sp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0398102-3604-6A5F-7F35-09904E7C9F3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988" y="333375"/>
            <a:ext cx="2325600" cy="50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661634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Sinin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41450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504890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8477094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D116C-5EF8-4838-9A5F-86AB544AA46C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16785845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21526390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36131247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12450330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6ED8460-F9B2-1E6C-652D-AA997ED935B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05808785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94252B3-EC17-3576-06D2-135934271A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9616082-FCF3-0B4C-CCD3-8B4500C23EE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58299573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5D5B7C8-05AF-1853-86CF-BEC542D91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C27518B-3CD7-DBFA-4079-53C0210547B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59831020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44653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10952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99332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fi-FI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8347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  <a:endParaRPr lang="fi-FI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5ECB2C-3B26-4642-A08B-D91DA94758CC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6ED8460-F9B2-1E6C-652D-AA997ED935B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4612822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B2B6860F-B462-3395-0D42-1D6C858E9F4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err="1"/>
              <a:t>Lisää</a:t>
            </a:r>
            <a:r>
              <a:rPr lang="en-GB"/>
              <a:t> </a:t>
            </a:r>
            <a:r>
              <a:rPr lang="en-GB" err="1"/>
              <a:t>kuva</a:t>
            </a:r>
            <a:endParaRPr lang="en-GB"/>
          </a:p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738664"/>
          </a:xfrm>
        </p:spPr>
        <p:txBody>
          <a:bodyPr anchor="t" anchorCtr="0">
            <a:sp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20EF67-855D-61E4-6831-B4B8E19256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6420898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aalea Sinin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73653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04507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Oranssi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73526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204066559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4652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01417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0831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6B15C77-C3E2-1396-58FE-ACF73DA2054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55747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6B15C77-C3E2-1396-58FE-ACF73DA2054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287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F931-B0E0-4812-B52B-95D66697D1AE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94252B3-EC17-3576-06D2-135934271A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9616082-FCF3-0B4C-CCD3-8B4500C23EE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53982083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24212E61-FA6C-4909-A64F-96957E89603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err="1"/>
              <a:t>Lisää</a:t>
            </a:r>
            <a:r>
              <a:rPr lang="en-GB"/>
              <a:t> </a:t>
            </a:r>
            <a:r>
              <a:rPr lang="en-GB" err="1"/>
              <a:t>kuva</a:t>
            </a:r>
            <a:endParaRPr lang="en-GB"/>
          </a:p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A1CC72-92FB-3363-C5B8-9136608B004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1231106"/>
          </a:xfrm>
        </p:spPr>
        <p:txBody>
          <a:bodyPr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345753502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lla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4623C09F-3FCC-1888-1069-D8D811DF11F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err="1"/>
              <a:t>Lisää</a:t>
            </a:r>
            <a:r>
              <a:rPr lang="en-GB"/>
              <a:t> </a:t>
            </a:r>
            <a:r>
              <a:rPr lang="en-GB" err="1"/>
              <a:t>kuva</a:t>
            </a:r>
            <a:endParaRPr lang="en-GB"/>
          </a:p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9682F0-63E3-35DE-D7F2-6CCF56790E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1231106"/>
          </a:xfrm>
        </p:spPr>
        <p:txBody>
          <a:bodyPr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22189514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554399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31291B-F0CF-B694-1D67-1103E645FE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0015" y="1628775"/>
            <a:ext cx="554399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44942138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01AF6C-A8F2-8B1F-3829-5C11DD5BA4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5543994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E17F7F-1433-10E5-04D5-0E673FC18D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5543995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68D6B2-8031-5CD8-60CC-0E7AF2B5E7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0015" y="1628800"/>
            <a:ext cx="5543997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1CFEB5-AAD0-D485-43A0-4E88546F685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0015" y="2204864"/>
            <a:ext cx="5543997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E647C8-E6F3-DA33-CDFC-03278D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B6C7C1-463A-8E2E-E815-A540C8B20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A7C553-4260-5B3C-9349-0A103FEFB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393B79B-E381-B636-A806-AF96793F7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163151276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väliotsiko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01AF6C-A8F2-8B1F-3829-5C11DD5BA4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11376022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E17F7F-1433-10E5-04D5-0E673FC18D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11376024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E647C8-E6F3-DA33-CDFC-03278D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B6C7C1-463A-8E2E-E815-A540C8B20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A7C553-4260-5B3C-9349-0A103FEFB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393B79B-E381-B636-A806-AF96793F7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7284643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5111750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08663" y="1628775"/>
            <a:ext cx="5975350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fi-FI" noProof="0"/>
              <a:t>Lisää kuva</a:t>
            </a:r>
          </a:p>
          <a:p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2813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08663" y="1628775"/>
            <a:ext cx="5975350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fi-FI" noProof="0"/>
              <a:t>Lisää kuva</a:t>
            </a:r>
          </a:p>
          <a:p>
            <a:endParaRPr lang="fi-FI" noProof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B3349D6-A24C-7582-3528-FE72912682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5111946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78EB7E6-96D9-B941-05A5-DBD7E4BE8F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5111947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097909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63" y="333375"/>
            <a:ext cx="5975350" cy="57594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673738-0205-57FC-6748-D7BD974C60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4800"/>
            <a:ext cx="5111948" cy="1436220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3648166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7988" y="333375"/>
            <a:ext cx="5975350" cy="57594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1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667501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603576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ältö kuvall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62" y="0"/>
            <a:ext cx="6383337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54C5033-1457-FB5E-5116-A846EFC961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98346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D116C-5EF8-4838-9A5F-86AB544AA46C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5D5B7C8-05AF-1853-86CF-BEC542D91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C27518B-3CD7-DBFA-4079-53C0210547B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78478648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383338" cy="6857999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1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667501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28391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816385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250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629779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kuv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7988" y="1628775"/>
            <a:ext cx="11376025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4030927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essi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3599780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31291B-F0CF-B694-1D67-1103E645FE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802" y="1628775"/>
            <a:ext cx="3600398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0365739-1DC8-C9DA-BDEC-DDC2A6395CC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4232" y="1628775"/>
            <a:ext cx="3599781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9257046-7365-CE0F-5CEA-0410AC02569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23392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7DCF637-F9C0-1D58-F7C4-84E8D83055D7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511824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BC38343-06F5-5344-B173-DE8E4E537803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400256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03218409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2A682-F7DD-1E81-4AED-221522F45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5E549D-7DD7-D2EF-0EA6-2A1DA6A90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BFB582-D5BC-AD1E-1505-83B6D0804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27422B-941A-877D-60C4-0B2A653E6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63590429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2D486F-EB23-3F8A-8E15-DE5BADB78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3.1.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124ADB-D299-4DCB-4345-9AEF4E461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50F52B-64BF-55A1-2E40-332464A3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85959528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2857341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207507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4F2A28-91CF-4DAF-9C62-76FD9065E01E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93606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3432934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106375" y="2780928"/>
            <a:ext cx="5979250" cy="1296144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4106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oitusdi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4490A02-6E83-9E42-A1AC-028E782AB223}"/>
              </a:ext>
            </a:extLst>
          </p:cNvPr>
          <p:cNvSpPr/>
          <p:nvPr userDrawn="1"/>
        </p:nvSpPr>
        <p:spPr>
          <a:xfrm>
            <a:off x="9149595" y="0"/>
            <a:ext cx="304240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04" tIns="60952" rIns="121904" bIns="609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 sz="3200">
              <a:highlight>
                <a:srgbClr val="FFFF00"/>
              </a:highlight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8547CFA-23BB-EA40-9111-F56C1BE5D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29727" y="0"/>
            <a:ext cx="4362274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AB5B563-B0BC-3E46-BFA8-5CF19F759FB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8597" y="227266"/>
            <a:ext cx="4024986" cy="893737"/>
          </a:xfrm>
          <a:prstGeom prst="rect">
            <a:avLst/>
          </a:prstGeom>
        </p:spPr>
      </p:pic>
      <p:sp>
        <p:nvSpPr>
          <p:cNvPr id="13" name="Title 4">
            <a:extLst>
              <a:ext uri="{FF2B5EF4-FFF2-40B4-BE49-F238E27FC236}">
                <a16:creationId xmlns:a16="http://schemas.microsoft.com/office/drawing/2014/main" id="{7EC4E50A-C123-2044-804B-06777C87E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3" y="1701801"/>
            <a:ext cx="7495294" cy="3059893"/>
          </a:xfrm>
        </p:spPr>
        <p:txBody>
          <a:bodyPr anchor="b" anchorCtr="0"/>
          <a:lstStyle>
            <a:lvl1pPr>
              <a:defRPr sz="5299"/>
            </a:lvl1pPr>
          </a:lstStyle>
          <a:p>
            <a:r>
              <a:rPr lang="en-US"/>
              <a:t>&lt;</a:t>
            </a:r>
            <a:r>
              <a:rPr lang="en-US" err="1"/>
              <a:t>Lisää</a:t>
            </a:r>
            <a:r>
              <a:rPr lang="en-US"/>
              <a:t> </a:t>
            </a:r>
            <a:r>
              <a:rPr lang="en-US" err="1"/>
              <a:t>otsikko</a:t>
            </a:r>
            <a:r>
              <a:rPr lang="en-US"/>
              <a:t>&gt;</a:t>
            </a:r>
            <a:endParaRPr lang="fi-FI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6AAC290-F4F1-0148-A97A-E1ED601A8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3" y="5397113"/>
            <a:ext cx="7495294" cy="1105289"/>
          </a:xfrm>
        </p:spPr>
        <p:txBody>
          <a:bodyPr lIns="0">
            <a:normAutofit/>
          </a:bodyPr>
          <a:lstStyle>
            <a:lvl1pPr marL="0" indent="0">
              <a:buNone/>
              <a:defRPr sz="2100">
                <a:latin typeface="+mn-lt"/>
              </a:defRPr>
            </a:lvl1pPr>
          </a:lstStyle>
          <a:p>
            <a:r>
              <a:rPr lang="fi-FI"/>
              <a:t>&lt;Lisää esittäjän ja tilaisuuden tiedot&gt;</a:t>
            </a:r>
          </a:p>
        </p:txBody>
      </p:sp>
    </p:spTree>
    <p:extLst>
      <p:ext uri="{BB962C8B-B14F-4D97-AF65-F5344CB8AC3E}">
        <p14:creationId xmlns:p14="http://schemas.microsoft.com/office/powerpoint/2010/main" val="7952906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Iso kuva 2 riviä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4434" y="2139926"/>
            <a:ext cx="9842501" cy="4025927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kuva napsauttamalla&gt;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06B1B8-0808-4D45-848E-696C4DDE9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D5A54B-2ABA-D84D-8182-B93C11AFA5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/>
              <a:t>23.1.2024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15868C-531E-CC4A-BC98-C0E89E4423C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/>
              <a:t>© 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3186BC-6495-BF4C-B323-F4B24782EAE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5BF3DF3-B09C-DE43-B906-25C72A4EEB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3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11630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ohdantosiv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435" y="2133601"/>
            <a:ext cx="9840845" cy="4032251"/>
          </a:xfrm>
        </p:spPr>
        <p:txBody>
          <a:bodyPr anchor="b">
            <a:normAutofit/>
          </a:bodyPr>
          <a:lstStyle>
            <a:lvl1pPr algn="l">
              <a:lnSpc>
                <a:spcPts val="7679"/>
              </a:lnSpc>
              <a:defRPr sz="4800" b="1" cap="none" baseline="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&lt;Lisää otsikko&gt;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2329493" y="-1"/>
            <a:ext cx="2492820" cy="2088000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Johdantosivua voit käyttää välilehtenä jakaaksesi esityksesi osiin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Johdantosivuksi sopii myös suurikokoisella kuvalla varustettu diatyyppi, mutta älä yhdistä samaan esitykseen kahta erilaista johdantosivutyyppiä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971418F-00FE-E644-9F3D-18220DE386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7909" y="1"/>
            <a:ext cx="1454092" cy="68646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0D39AA-C316-7748-9073-4A096F9B98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2" y="221846"/>
            <a:ext cx="4123499" cy="91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89364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_2_sisältöpalstaa 2 riviä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E5D7BB-F21E-F84A-A59C-0FEB26DAA6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i-FI"/>
              <a:t>23.1.202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156C0E-EE33-9041-BBD5-EC2CC146AE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/>
              <a:t>© 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146A42-79B7-8949-87AB-8CFEC226B5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451ADC-3BA1-FA45-A410-75230DEF1E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142" y="365126"/>
            <a:ext cx="9845794" cy="1336673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515DAC1-6750-6D4C-B407-2BAA1F94BE2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8668" y="2133601"/>
            <a:ext cx="4774832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895B9F7E-7414-E145-A9DE-987A1564B51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412920" y="2133601"/>
            <a:ext cx="4764014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424806173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2 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2329493" y="-1"/>
            <a:ext cx="2492820" cy="3856384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Tämä on perustekstidia, jota tulee käyttää aina kun mahdollist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yös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ksipalstaiset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 tekstidiat ovat suositeltavi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Näiden oikeassa laidassa olevat graafiset elementit tekevät esityksen ilmeestä tunnistettavan ja johdonmukaisen.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uuta tarvittaessa alatunnisteen tietoihin organisaatiosi nimi valitsemalla valikosta Lisää &gt; Ylä- ja alatunniste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äytä esityksissä sivunumeroita ja päivämäärää, jotka on valmiiksi asetettu alatunnisteen tietoihin.</a:t>
            </a:r>
          </a:p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fi-FI" sz="1333" b="0" i="0" u="none" strike="noStrike" kern="1200" cap="none" spc="0" normalizeH="0" baseline="0" noProof="0">
              <a:ln>
                <a:noFill/>
              </a:ln>
              <a:solidFill>
                <a:srgbClr val="626971"/>
              </a:solidFill>
              <a:effectLst/>
              <a:uLnTx/>
              <a:uFillTx/>
              <a:latin typeface="Helvetic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FBBCBA-ADED-9D43-82E8-6A12B70A89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CAF3D2-0CCA-924D-BCED-7E0A6E981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3.1.2024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E27ECC-EC61-2F44-939C-5B41748E6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B02F8C-7C17-A348-893A-39F41A413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9678D1-A173-6C46-AA64-03F41026F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429" b="1456"/>
          <a:stretch/>
        </p:blipFill>
        <p:spPr>
          <a:xfrm>
            <a:off x="10579101" y="-1"/>
            <a:ext cx="1612900" cy="6858001"/>
          </a:xfrm>
          <a:prstGeom prst="rect">
            <a:avLst/>
          </a:prstGeom>
        </p:spPr>
      </p:pic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B73718DE-04D0-2543-B468-F97A6BDD8B5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34434" y="2133601"/>
            <a:ext cx="9842500" cy="4032251"/>
          </a:xfrm>
        </p:spPr>
        <p:txBody>
          <a:bodyPr>
            <a:normAutofit/>
          </a:bodyPr>
          <a:lstStyle>
            <a:lvl1pPr marL="228571" marR="0" indent="-228571" algn="l" defTabSz="9142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685714" marR="0" indent="-228571" algn="l" defTabSz="914286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2pPr>
            <a:lvl3pPr marL="1142857" marR="0" indent="-228571" algn="l" defTabSz="914286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1600000" marR="0" indent="-228571" algn="l" defTabSz="914286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4pPr>
            <a:lvl5pPr marL="2057143" marR="0" indent="-228571" algn="l" defTabSz="914286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5pPr>
          </a:lstStyle>
          <a:p>
            <a:pPr marL="228571" marR="0" lvl="0" indent="-228571" algn="l" defTabSz="91428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uokkaa tekstin perustyylejä</a:t>
            </a:r>
          </a:p>
          <a:p>
            <a:pPr marL="685714" marR="0" lvl="1" indent="-228571" algn="l" defTabSz="914286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inen taso</a:t>
            </a:r>
          </a:p>
          <a:p>
            <a:pPr marL="1142857" marR="0" lvl="2" indent="-228571" algn="l" defTabSz="914286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olmas taso</a:t>
            </a:r>
          </a:p>
          <a:p>
            <a:pPr marL="1600000" marR="0" lvl="3" indent="-228571" algn="l" defTabSz="914286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ljäs taso</a:t>
            </a:r>
          </a:p>
          <a:p>
            <a:pPr marL="2057143" marR="0" lvl="4" indent="-228571" algn="l" defTabSz="914286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202495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160">
          <p15:clr>
            <a:srgbClr val="FBAE40"/>
          </p15:clr>
        </p15:guide>
        <p15:guide id="1" pos="6773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1 r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2329493" y="-1"/>
            <a:ext cx="2492820" cy="3856384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Tämä on perustekstidia, jota tulee käyttää aina kun mahdollist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yös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ksipalstaiset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 tekstidiat ovat suositeltavi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Näiden oikeassa laidassa olevat graafiset elementit tekevät esityksen ilmeestä tunnistettavan ja johdonmukaisen.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uuta tarvittaessa alatunnisteen tietoihin organisaatiosi nimi valitsemalla valikosta Lisää &gt; Ylä- ja alatunniste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äytä esityksissä sivunumeroita ja päivämäärää, jotka on valmiiksi asetettu alatunnisteen tietoihin.</a:t>
            </a:r>
          </a:p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fi-FI" sz="1333" b="0" i="0" u="none" strike="noStrike" kern="1200" cap="none" spc="0" normalizeH="0" baseline="0" noProof="0">
              <a:ln>
                <a:noFill/>
              </a:ln>
              <a:solidFill>
                <a:srgbClr val="626971"/>
              </a:solidFill>
              <a:effectLst/>
              <a:uLnTx/>
              <a:uFillTx/>
              <a:latin typeface="Helvetica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CAF3D2-0CCA-924D-BCED-7E0A6E981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3.1.2024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E27ECC-EC61-2F44-939C-5B41748E6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B02F8C-7C17-A348-893A-39F41A413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9678D1-A173-6C46-AA64-03F41026F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429" b="1456"/>
          <a:stretch/>
        </p:blipFill>
        <p:spPr>
          <a:xfrm>
            <a:off x="10579101" y="-1"/>
            <a:ext cx="1612900" cy="685800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11D3265-B181-FF49-9159-C456EF5004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7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C33F5B55-A33A-534E-B852-406E31E7EE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34434" y="1701800"/>
            <a:ext cx="9842500" cy="4464051"/>
          </a:xfrm>
        </p:spPr>
        <p:txBody>
          <a:bodyPr>
            <a:norm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569715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160">
          <p15:clr>
            <a:srgbClr val="FBAE40"/>
          </p15:clr>
        </p15:guide>
        <p15:guide id="1" pos="6773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 2 riviä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2329493" y="-1"/>
            <a:ext cx="2492820" cy="3856384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Tämä on perustekstidia, jota tulee käyttää aina kun mahdollist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yös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ksipalstaiset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 tekstidiat ovat suositeltavi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Näiden oikeassa laidassa olevat graafiset elementit tekevät esityksen ilmeestä tunnistettavan ja johdonmukaisen.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uuta tarvittaessa alatunnisteen tietoihin organisaatiosi nimi valitsemalla valikosta Lisää &gt; Ylä- ja alatunniste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äytä esityksissä sivunumeroita ja päivämäärää, jotka on valmiiksi asetettu alatunnisteen tietoihin.</a:t>
            </a:r>
          </a:p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fi-FI" sz="1333" b="0" i="0" u="none" strike="noStrike" kern="1200" cap="none" spc="0" normalizeH="0" baseline="0" noProof="0">
              <a:ln>
                <a:noFill/>
              </a:ln>
              <a:solidFill>
                <a:srgbClr val="626971"/>
              </a:solidFill>
              <a:effectLst/>
              <a:uLnTx/>
              <a:uFillTx/>
              <a:latin typeface="Helvetic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FBBCBA-ADED-9D43-82E8-6A12B70A89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CAF3D2-0CCA-924D-BCED-7E0A6E981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3.1.2024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E27ECC-EC61-2F44-939C-5B41748E6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B02F8C-7C17-A348-893A-39F41A413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B73718DE-04D0-2543-B468-F97A6BDD8B5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34434" y="2133601"/>
            <a:ext cx="98425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1FCD2B-23D6-D84E-A8C4-AA6CD4FF05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3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078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160">
          <p15:clr>
            <a:srgbClr val="FBAE40"/>
          </p15:clr>
        </p15:guide>
        <p15:guide id="1" pos="6773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809" y="325370"/>
            <a:ext cx="10224000" cy="1260000"/>
          </a:xfrm>
        </p:spPr>
        <p:txBody>
          <a:bodyPr>
            <a:normAutofit/>
          </a:bodyPr>
          <a:lstStyle>
            <a:lvl1pPr>
              <a:lnSpc>
                <a:spcPts val="3600"/>
              </a:lnSpc>
              <a:defRPr sz="3200" b="1" baseline="0"/>
            </a:lvl1pPr>
          </a:lstStyle>
          <a:p>
            <a:r>
              <a:rPr lang="fi-FI" noProof="0"/>
              <a:t>&lt;Lisää otsikko&gt;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87467" y="6290093"/>
            <a:ext cx="1264577" cy="365125"/>
          </a:xfrm>
        </p:spPr>
        <p:txBody>
          <a:bodyPr/>
          <a:lstStyle>
            <a:lvl1pPr>
              <a:defRPr sz="1200" b="1"/>
            </a:lvl1pPr>
          </a:lstStyle>
          <a:p>
            <a:r>
              <a:rPr lang="fi-FI"/>
              <a:t>23.1.202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2482" y="6290093"/>
            <a:ext cx="8880000" cy="365125"/>
          </a:xfrm>
        </p:spPr>
        <p:txBody>
          <a:bodyPr/>
          <a:lstStyle>
            <a:lvl1pPr algn="l">
              <a:defRPr sz="1200" b="1"/>
            </a:lvl1pPr>
          </a:lstStyle>
          <a:p>
            <a:r>
              <a:rPr lang="fi-FI"/>
              <a:t>© Rakennusteollisuus R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2505" y="6290093"/>
            <a:ext cx="504686" cy="365125"/>
          </a:xfrm>
        </p:spPr>
        <p:txBody>
          <a:bodyPr/>
          <a:lstStyle>
            <a:lvl1pPr>
              <a:defRPr sz="1200" b="1"/>
            </a:lvl1pPr>
          </a:lstStyle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373" r="24951"/>
          <a:stretch/>
        </p:blipFill>
        <p:spPr>
          <a:xfrm>
            <a:off x="10924034" y="0"/>
            <a:ext cx="1267968" cy="5680708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4809" y="1600341"/>
            <a:ext cx="10224000" cy="4351338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  <a:lvl2pPr marL="357152" indent="-171433">
              <a:lnSpc>
                <a:spcPct val="100000"/>
              </a:lnSpc>
              <a:buFont typeface="Calibri" panose="020F0502020204030204" pitchFamily="34" charset="0"/>
              <a:buChar char="‐"/>
              <a:defRPr sz="2200">
                <a:solidFill>
                  <a:schemeClr val="tx1"/>
                </a:solidFill>
              </a:defRPr>
            </a:lvl2pPr>
            <a:lvl3pPr marL="542871" indent="-171433">
              <a:lnSpc>
                <a:spcPct val="100000"/>
              </a:lnSpc>
              <a:buFont typeface="Calibri" panose="020F0502020204030204" pitchFamily="34" charset="0"/>
              <a:buChar char="‐"/>
              <a:defRPr sz="2000">
                <a:solidFill>
                  <a:schemeClr val="tx1"/>
                </a:solidFill>
              </a:defRPr>
            </a:lvl3pPr>
            <a:lvl4pPr marL="715891" indent="-171433">
              <a:lnSpc>
                <a:spcPct val="100000"/>
              </a:lnSpc>
              <a:buFont typeface="Calibri" panose="020F0502020204030204" pitchFamily="34" charset="0"/>
              <a:buChar char="‐"/>
              <a:defRPr sz="1800">
                <a:solidFill>
                  <a:schemeClr val="tx1"/>
                </a:solidFill>
              </a:defRPr>
            </a:lvl4pPr>
            <a:lvl5pPr marL="901610" indent="-171433">
              <a:lnSpc>
                <a:spcPct val="100000"/>
              </a:lnSpc>
              <a:buFont typeface="Calibri" panose="020F0502020204030204" pitchFamily="34" charset="0"/>
              <a:buChar char="‐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fi-FI" noProof="0"/>
              <a:t>&lt;Lisää tekstiä&gt;</a:t>
            </a:r>
          </a:p>
          <a:p>
            <a:pPr lvl="1"/>
            <a:r>
              <a:rPr lang="fi-FI" noProof="0"/>
              <a:t>Second </a:t>
            </a:r>
            <a:r>
              <a:rPr lang="fi-FI" noProof="0" err="1"/>
              <a:t>level</a:t>
            </a:r>
            <a:endParaRPr lang="fi-FI" noProof="0"/>
          </a:p>
          <a:p>
            <a:pPr lvl="2"/>
            <a:r>
              <a:rPr lang="fi-FI" noProof="0"/>
              <a:t>Third </a:t>
            </a:r>
            <a:r>
              <a:rPr lang="fi-FI" noProof="0" err="1"/>
              <a:t>level</a:t>
            </a:r>
            <a:endParaRPr lang="fi-FI" noProof="0"/>
          </a:p>
          <a:p>
            <a:pPr lvl="3"/>
            <a:r>
              <a:rPr lang="fi-FI" noProof="0" err="1"/>
              <a:t>Fourth</a:t>
            </a:r>
            <a:r>
              <a:rPr lang="fi-FI" noProof="0"/>
              <a:t> </a:t>
            </a:r>
            <a:r>
              <a:rPr lang="fi-FI" noProof="0" err="1"/>
              <a:t>level</a:t>
            </a:r>
            <a:endParaRPr lang="fi-FI" noProof="0"/>
          </a:p>
          <a:p>
            <a:pPr lvl="4"/>
            <a:r>
              <a:rPr lang="fi-FI" noProof="0" err="1"/>
              <a:t>Fifth</a:t>
            </a:r>
            <a:r>
              <a:rPr lang="fi-FI" noProof="0"/>
              <a:t> </a:t>
            </a:r>
            <a:r>
              <a:rPr lang="fi-FI" noProof="0" err="1"/>
              <a:t>level</a:t>
            </a:r>
            <a:endParaRPr lang="fi-FI" noProof="0"/>
          </a:p>
        </p:txBody>
      </p:sp>
      <p:sp>
        <p:nvSpPr>
          <p:cNvPr id="9" name="Rectangle 8"/>
          <p:cNvSpPr/>
          <p:nvPr userDrawn="1"/>
        </p:nvSpPr>
        <p:spPr>
          <a:xfrm>
            <a:off x="12329492" y="-1"/>
            <a:ext cx="2492820" cy="3856384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171433" marR="0" lvl="0" indent="-171433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Tämä on perustekstidia, jota tulee käyttää aina kun mahdollista. </a:t>
            </a:r>
          </a:p>
          <a:p>
            <a:pPr marL="171433" marR="0" lvl="0" indent="-171433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yös </a:t>
            </a:r>
            <a:r>
              <a:rPr kumimoji="0" lang="fi-FI" sz="1000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ksipalstaiset</a:t>
            </a: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 tekstidiat ovat suositeltavia. </a:t>
            </a:r>
          </a:p>
          <a:p>
            <a:pPr marL="171433" marR="0" lvl="0" indent="-171433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Näiden oikeassa laidassa olevat graafiset elementit tekevät esityksen ilmeestä tunnistettavan ja johdonmukaisen.</a:t>
            </a:r>
          </a:p>
          <a:p>
            <a:pPr marL="171433" marR="0" lvl="0" indent="-171433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uuta tarvittaessa alatunnisteen tietoihin organisaatiosi nimi valitsemalla valikosta Lisää &gt; Ylä- ja alatunniste. </a:t>
            </a:r>
          </a:p>
          <a:p>
            <a:pPr marL="171433" marR="0" lvl="0" indent="-171433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äytä esityksissä sivunumeroita ja päivämäärää, jotka on valmiiksi asetettu alatunnisteen tietoihin.</a:t>
            </a:r>
          </a:p>
          <a:p>
            <a:pPr marL="0" marR="0" lvl="0" indent="0" algn="l" defTabSz="9143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srgbClr val="626971"/>
              </a:solidFill>
              <a:effectLst/>
              <a:uLnTx/>
              <a:uFillTx/>
              <a:latin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362571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160">
          <p15:clr>
            <a:srgbClr val="FBAE40"/>
          </p15:clr>
        </p15:guide>
        <p15:guide id="1" pos="50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E5D6E3-D4BB-4C2D-8285-CE55EDAC7BD2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3300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isikko_Isko_kuva_kuvateksti 2 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4434" y="2139924"/>
            <a:ext cx="9842501" cy="3236712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kuva napsauttamalla&gt;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608FE-8888-5246-9F76-2680F44A1FF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3B2DF2-064F-1440-90E1-4D49F2199F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39C3FF-120F-3448-8B23-49175ABC9B0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AEBAE7-A83B-3942-8C13-C09B4CB143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434" y="5573487"/>
            <a:ext cx="9842500" cy="59236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100"/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04BD48-B974-DF48-A114-D3C2147B9F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429" b="1456"/>
          <a:stretch/>
        </p:blipFill>
        <p:spPr>
          <a:xfrm>
            <a:off x="10579101" y="-1"/>
            <a:ext cx="1612900" cy="685800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95933274-A86A-B64D-8075-E04AFF2ED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6"/>
            <a:ext cx="9842500" cy="1336673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752407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petusdia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14918" y="2133600"/>
            <a:ext cx="9362016" cy="1295400"/>
          </a:xfrm>
        </p:spPr>
        <p:txBody>
          <a:bodyPr anchor="ctr">
            <a:normAutofit/>
          </a:bodyPr>
          <a:lstStyle>
            <a:lvl1pPr algn="ctr">
              <a:lnSpc>
                <a:spcPts val="7679"/>
              </a:lnSpc>
              <a:defRPr sz="4800" b="1" cap="none" baseline="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&lt;Lisää tekstiä&gt;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2329493" y="2"/>
            <a:ext cx="2492820" cy="1338471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Voit päättää esityksesi tähän lopetusdiaan, jossa on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RT:n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tuttu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slogan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ja graafisista elementeistä koostuva kaupunkisiluetti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39F5AA4-1DD0-D140-98B6-D50F8DD834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957656"/>
            <a:ext cx="12192000" cy="260397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F6D6DD6-2EEB-E947-916E-CB377884C4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2" y="221846"/>
            <a:ext cx="4123499" cy="91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775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1661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ogo Back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3.1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© 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09E5A31-E67C-4A9A-9668-3D05EBE733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7408" y="2708275"/>
            <a:ext cx="10657184" cy="1512888"/>
          </a:xfr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  <a:latin typeface="+mj-lt"/>
              </a:defRPr>
            </a:lvl1pPr>
            <a:lvl2pPr marL="0" indent="0">
              <a:buFontTx/>
              <a:buNone/>
              <a:defRPr sz="3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722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i-FI"/>
              <a:t>© Rakennusteollisuus RT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i-FI"/>
              <a:t>23.1.2024</a:t>
            </a:r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5043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F2FFD07-AE14-4072-A07A-3A6742066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6470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F2FFD07-AE14-4072-A07A-3A6742066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8BD198-8E0E-458F-B03F-F645CCE50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EBEFA8-26F7-4E24-9E80-5BEA7750E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fi-FI"/>
              <a:t>23.1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91277A-4F70-427F-80B2-2B7A89A093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/>
              <a:t>© 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61A6A-E8D9-46F8-A8FA-7819E7FBB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C6E9A87C-37A4-4E98-B69E-8D39F910BEC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1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A1A527-6EF5-4468-9E5A-F96FFE392110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6563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BF89BAD-D414-4E24-B195-7CFCB4A39898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fi-FI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8672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B2B6860F-B462-3395-0D42-1D6C858E9F4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CCAF36-9FD4-44AB-9266-7472BDC5FEFE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738664"/>
          </a:xfrm>
        </p:spPr>
        <p:txBody>
          <a:bodyPr anchor="t" anchorCtr="0">
            <a:sp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20EF67-855D-61E4-6831-B4B8E19256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138447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3147014-61DF-4F1C-895F-1CED0D384E1B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5445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aalea Sinin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48B93C-268E-4D94-8C5C-A1E3B3F50EAA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8314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48B93C-268E-4D94-8C5C-A1E3B3F50EAA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6430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Oranssi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80804E8-5B34-45CB-A5DE-1762D060DD8B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8814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84FB6-0946-4415-AB3F-754DC2E93EC5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10161625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4EF9D8-89A7-4714-ADF5-96785C224333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641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3C859B-4452-4541-86C4-56E6D0CC396B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5440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9AC637-90F0-42B3-A375-C743842F7D20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5089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E27D3B-DC67-47F5-AD74-7A5DBBA869BB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6B15C77-C3E2-1396-58FE-ACF73DA2054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4796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4554E-336C-4FA4-A7C6-1D1BE1709BF6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6B15C77-C3E2-1396-58FE-ACF73DA2054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0276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24212E61-FA6C-4909-A64F-96957E89603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A1CC72-92FB-3363-C5B8-9136608B004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C8E437-721B-421E-9B40-4BBC9DC6B378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1231106"/>
          </a:xfrm>
        </p:spPr>
        <p:txBody>
          <a:bodyPr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843793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4813EA7-99B3-4755-8B70-7621FADBE3A1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703572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lla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4623C09F-3FCC-1888-1069-D8D811DF11F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9682F0-63E3-35DE-D7F2-6CCF56790E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1B42B6-0660-4B2E-8F83-C9BD3FEF7892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1231106"/>
          </a:xfrm>
        </p:spPr>
        <p:txBody>
          <a:bodyPr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9604583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554399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31291B-F0CF-B694-1D67-1103E645FE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0015" y="1628775"/>
            <a:ext cx="554399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958439-7D8D-4199-B468-27E28379EC90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354954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01AF6C-A8F2-8B1F-3829-5C11DD5BA4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5543994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E17F7F-1433-10E5-04D5-0E673FC18D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5543995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68D6B2-8031-5CD8-60CC-0E7AF2B5E7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0015" y="1628800"/>
            <a:ext cx="5543997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1CFEB5-AAD0-D485-43A0-4E88546F685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0015" y="2204864"/>
            <a:ext cx="5543997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E647C8-E6F3-DA33-CDFC-03278D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6981B-EF10-4D55-BFE0-829CACFCF2F3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B6C7C1-463A-8E2E-E815-A540C8B20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A7C553-4260-5B3C-9349-0A103FEFB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393B79B-E381-B636-A806-AF96793F7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24850894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väliotsiko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01AF6C-A8F2-8B1F-3829-5C11DD5BA4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11376022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E17F7F-1433-10E5-04D5-0E673FC18D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11376024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E647C8-E6F3-DA33-CDFC-03278D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02AF7-4AB5-4C7A-83DD-B1CF6FEE0268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B6C7C1-463A-8E2E-E815-A540C8B20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A7C553-4260-5B3C-9349-0A103FEFB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393B79B-E381-B636-A806-AF96793F7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20794585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5111750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00D4C-F88F-4941-9FCB-5F82705CD513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08663" y="1628775"/>
            <a:ext cx="5975350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fi-FI" noProof="0"/>
              <a:t>Lisää kuva</a:t>
            </a:r>
          </a:p>
          <a:p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4062376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DCB92-693F-482D-94D4-0423B7BFD563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08663" y="1628775"/>
            <a:ext cx="5975350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fi-FI" noProof="0"/>
              <a:t>Lisää kuva</a:t>
            </a:r>
          </a:p>
          <a:p>
            <a:endParaRPr lang="fi-FI" noProof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B3349D6-A24C-7582-3528-FE72912682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5111946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78EB7E6-96D9-B941-05A5-DBD7E4BE8F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5111947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067931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DC194D-D5C0-43D6-8FF6-15F316864382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63" y="333375"/>
            <a:ext cx="5975350" cy="57594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673738-0205-57FC-6748-D7BD974C60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4800"/>
            <a:ext cx="5111948" cy="1436220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3765952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7988" y="333375"/>
            <a:ext cx="5975350" cy="57594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1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667501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3B9B6C-9017-4B99-948C-A5B2C90664E6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735175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ältö kuvall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62" y="0"/>
            <a:ext cx="6383337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45C6A-E546-432C-A07C-A8B118D15AA1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54C5033-1457-FB5E-5116-A846EFC961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61238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383338" cy="6857999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1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667501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CB3DB-32DD-48AA-BF71-F18615077D65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416317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B0566A4-EAD3-4EC6-9545-657FEA62384F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64625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130EE-6E6C-443B-A791-FC9C7DCB9DB3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4273051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4B641-01CB-4E4E-AC1F-26763285CA59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006611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6DEC4-3FB8-44AC-BDA2-2F3FB6A814CB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4282431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kuv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0513D-EBA7-4509-B3F4-D169836C91C1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7988" y="1628775"/>
            <a:ext cx="11376025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4110090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essi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3599780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31291B-F0CF-B694-1D67-1103E645FE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802" y="1628775"/>
            <a:ext cx="3600398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0A3ED-138B-454C-A969-5502CF465F06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0365739-1DC8-C9DA-BDEC-DDC2A6395CC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4232" y="1628775"/>
            <a:ext cx="3599781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9257046-7365-CE0F-5CEA-0410AC02569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23392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7DCF637-F9C0-1D58-F7C4-84E8D83055D7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511824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BC38343-06F5-5344-B173-DE8E4E537803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400256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8676690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2A682-F7DD-1E81-4AED-221522F45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5E549D-7DD7-D2EF-0EA6-2A1DA6A90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F6137-DDD1-4CD8-9EF1-C3EF014E9AF2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BFB582-D5BC-AD1E-1505-83B6D0804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27422B-941A-877D-60C4-0B2A653E6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8834796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2D486F-EB23-3F8A-8E15-DE5BADB78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C9408-919C-4DA3-8E3B-A040EEB6DBAA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124ADB-D299-4DCB-4345-9AEF4E461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50F52B-64BF-55A1-2E40-332464A3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2903982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85445A0-A084-4375-85B5-2AFB4CEE7DB7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3884480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C1596E-6CD1-4E21-BE2A-B3E8CA8A5C52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2946037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FC92F00-D706-48A8-A25C-CC316862DE6A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1072372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9931121-A866-0128-FA48-AD9BBB41210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738664"/>
          </a:xfrm>
        </p:spPr>
        <p:txBody>
          <a:bodyPr anchor="t" anchorCtr="0">
            <a:sp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B1996E0-FD76-4EFB-9031-82134C43F092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0398102-3604-6A5F-7F35-09904E7C9F3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988" y="333375"/>
            <a:ext cx="2325600" cy="50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86017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4F9CBB7-0E63-4C2C-80AC-55CE9CBC73C2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106375" y="2780928"/>
            <a:ext cx="5979250" cy="1296144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1535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aavio / piira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811" y="325371"/>
            <a:ext cx="11222381" cy="1260000"/>
          </a:xfrm>
        </p:spPr>
        <p:txBody>
          <a:bodyPr>
            <a:normAutofit/>
          </a:bodyPr>
          <a:lstStyle>
            <a:lvl1pPr algn="l">
              <a:lnSpc>
                <a:spcPts val="3600"/>
              </a:lnSpc>
              <a:defRPr sz="3200" b="1" baseline="0"/>
            </a:lvl1pPr>
          </a:lstStyle>
          <a:p>
            <a:r>
              <a:rPr lang="fi-FI" noProof="0"/>
              <a:t>&lt;Lisää otsikko&gt;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 hasCustomPrompt="1"/>
          </p:nvPr>
        </p:nvSpPr>
        <p:spPr>
          <a:xfrm>
            <a:off x="484811" y="1616904"/>
            <a:ext cx="11222381" cy="43524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fi-FI"/>
              <a:t>&lt;Lisää kaavio napsauttamalla&gt;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87469" y="6290094"/>
            <a:ext cx="1264577" cy="365125"/>
          </a:xfrm>
        </p:spPr>
        <p:txBody>
          <a:bodyPr/>
          <a:lstStyle>
            <a:lvl1pPr>
              <a:defRPr sz="1200" b="1"/>
            </a:lvl1pPr>
          </a:lstStyle>
          <a:p>
            <a:fld id="{5B62B050-43DD-438E-8676-530F68893570}" type="datetime1">
              <a:rPr lang="fi-FI" smtClean="0">
                <a:solidFill>
                  <a:srgbClr val="002565"/>
                </a:solidFill>
              </a:rPr>
              <a:t>21.4.2024</a:t>
            </a:fld>
            <a:endParaRPr lang="fi-FI">
              <a:solidFill>
                <a:srgbClr val="002565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2481" y="6290094"/>
            <a:ext cx="8880000" cy="365125"/>
          </a:xfrm>
        </p:spPr>
        <p:txBody>
          <a:bodyPr/>
          <a:lstStyle>
            <a:lvl1pPr algn="l">
              <a:defRPr sz="1200" b="1"/>
            </a:lvl1pPr>
          </a:lstStyle>
          <a:p>
            <a:r>
              <a:rPr lang="fi-FI">
                <a:solidFill>
                  <a:srgbClr val="002565"/>
                </a:solidFill>
              </a:rPr>
              <a:t>Rakennusteollisuus RT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2507" y="6290094"/>
            <a:ext cx="504687" cy="365125"/>
          </a:xfrm>
        </p:spPr>
        <p:txBody>
          <a:bodyPr/>
          <a:lstStyle>
            <a:lvl1pPr>
              <a:defRPr sz="1200" b="1"/>
            </a:lvl1pPr>
          </a:lstStyle>
          <a:p>
            <a:fld id="{1F4D50CA-F9F4-4F82-9F28-967629681EF9}" type="slidenum">
              <a:rPr lang="fi-FI" smtClean="0">
                <a:solidFill>
                  <a:srgbClr val="002565"/>
                </a:solidFill>
              </a:rPr>
              <a:pPr/>
              <a:t>‹#›</a:t>
            </a:fld>
            <a:endParaRPr lang="fi-FI">
              <a:solidFill>
                <a:srgbClr val="002565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2329494" y="-1"/>
            <a:ext cx="2492820" cy="2862472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  <a:defRPr/>
            </a:pPr>
            <a:r>
              <a:rPr lang="fi-FI" sz="1000" b="1">
                <a:solidFill>
                  <a:srgbClr val="626971"/>
                </a:solidFill>
                <a:latin typeface="Helvetica"/>
              </a:rPr>
              <a:t>Ohje</a:t>
            </a:r>
          </a:p>
          <a:p>
            <a:pPr marL="171429" indent="-171429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fi-FI" sz="1000">
                <a:solidFill>
                  <a:srgbClr val="626971"/>
                </a:solidFill>
                <a:latin typeface="Helvetica"/>
              </a:rPr>
              <a:t>Käytä kaavioiden pohjana tätä diatyyppiä, jossa ei ole graafisia elementtejä oikeassa laidassa. </a:t>
            </a:r>
          </a:p>
          <a:p>
            <a:pPr marL="171429" indent="-171429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fi-FI" sz="1000">
                <a:solidFill>
                  <a:srgbClr val="626971"/>
                </a:solidFill>
                <a:latin typeface="Helvetica"/>
              </a:rPr>
              <a:t>Kaavioissa tulee noudattaa RT:n tunnusvärejä eli PowerPointiin ja Exceliin oletuksiksi asetettuja teemavärejä. </a:t>
            </a:r>
          </a:p>
          <a:p>
            <a:pPr marL="171429" indent="-171429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fi-FI" sz="1000">
                <a:solidFill>
                  <a:srgbClr val="626971"/>
                </a:solidFill>
                <a:latin typeface="Helvetica"/>
              </a:rPr>
              <a:t>Kaaviot pitää toteuttaa näiden mallien mukaisesti, eikä niissä tule käyttää muita muotoiluja (kolmiulotteisuutta, varjostuksia tms.).</a:t>
            </a:r>
          </a:p>
        </p:txBody>
      </p:sp>
    </p:spTree>
    <p:extLst>
      <p:ext uri="{BB962C8B-B14F-4D97-AF65-F5344CB8AC3E}">
        <p14:creationId xmlns:p14="http://schemas.microsoft.com/office/powerpoint/2010/main" val="2328869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08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4649992-5D26-4D93-A374-A91A9777B4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5ABBCB6-6802-4E92-AA61-1A9F3E2B41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49B046C6-406C-48CF-816C-FB63336F74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6F1D276E-FA68-4330-8963-EFF346F97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3.1.2024</a:t>
            </a:r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36E8C16B-9584-4C97-A3C3-8D99071E18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Rakennusteollisuus RT</a:t>
            </a:r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EA4D591-BBD2-40FB-AF06-CCA0C8A9A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EBE6B9-0B90-44D7-84F9-92270BEA38CF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867133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B22DAE6-3F3D-13C1-8F9B-2B0C6CFEE1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9DC41E20-053D-E588-87C8-171B2CB0D2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909E6D9B-6D7E-2FFB-68A9-8C8A5AD348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FFB388-F666-4125-BC3D-F43B1E38ABDA}" type="datetimeFigureOut">
              <a:rPr lang="fi-FI" smtClean="0"/>
              <a:t>21.4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6959E0E5-7C4F-CF09-7025-81E110F640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EE0D7D90-98F0-D194-3F01-53E81EB6C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250711-E6E8-4187-906F-EE44E98E5EBF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283164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oitusdi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4490A02-6E83-9E42-A1AC-028E782AB223}"/>
              </a:ext>
            </a:extLst>
          </p:cNvPr>
          <p:cNvSpPr/>
          <p:nvPr userDrawn="1"/>
        </p:nvSpPr>
        <p:spPr>
          <a:xfrm>
            <a:off x="9149595" y="0"/>
            <a:ext cx="304240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04" tIns="60952" rIns="121904" bIns="609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 sz="2400">
              <a:highlight>
                <a:srgbClr val="FFFF00"/>
              </a:highlight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8547CFA-23BB-EA40-9111-F56C1BE5D7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29729" y="0"/>
            <a:ext cx="4362273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AB5B563-B0BC-3E46-BFA8-5CF19F759FB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8598" y="227267"/>
            <a:ext cx="4024985" cy="893737"/>
          </a:xfrm>
          <a:prstGeom prst="rect">
            <a:avLst/>
          </a:prstGeom>
        </p:spPr>
      </p:pic>
      <p:sp>
        <p:nvSpPr>
          <p:cNvPr id="13" name="Title 4">
            <a:extLst>
              <a:ext uri="{FF2B5EF4-FFF2-40B4-BE49-F238E27FC236}">
                <a16:creationId xmlns:a16="http://schemas.microsoft.com/office/drawing/2014/main" id="{7EC4E50A-C123-2044-804B-06777C87E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701802"/>
            <a:ext cx="7495293" cy="3059893"/>
          </a:xfrm>
        </p:spPr>
        <p:txBody>
          <a:bodyPr anchor="b" anchorCtr="0"/>
          <a:lstStyle>
            <a:lvl1pPr>
              <a:defRPr sz="5332"/>
            </a:lvl1pPr>
          </a:lstStyle>
          <a:p>
            <a:r>
              <a:rPr lang="en-US"/>
              <a:t>&lt;</a:t>
            </a:r>
            <a:r>
              <a:rPr lang="en-US" err="1"/>
              <a:t>Lisää</a:t>
            </a:r>
            <a:r>
              <a:rPr lang="en-US"/>
              <a:t> </a:t>
            </a:r>
            <a:r>
              <a:rPr lang="en-US" err="1"/>
              <a:t>otsikko</a:t>
            </a:r>
            <a:r>
              <a:rPr lang="en-US"/>
              <a:t>&gt;</a:t>
            </a:r>
            <a:endParaRPr lang="fi-FI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6AAC290-F4F1-0148-A97A-E1ED601A8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5" y="5397114"/>
            <a:ext cx="7495293" cy="1105289"/>
          </a:xfrm>
        </p:spPr>
        <p:txBody>
          <a:bodyPr lIns="0"/>
          <a:lstStyle>
            <a:lvl1pPr marL="0" indent="0">
              <a:buNone/>
              <a:defRPr sz="2400"/>
            </a:lvl1pPr>
          </a:lstStyle>
          <a:p>
            <a:r>
              <a:rPr lang="fi-FI"/>
              <a:t>&lt;Lisää esittäjän ja tilaisuuden tiedot&gt;</a:t>
            </a:r>
          </a:p>
        </p:txBody>
      </p:sp>
    </p:spTree>
    <p:extLst>
      <p:ext uri="{BB962C8B-B14F-4D97-AF65-F5344CB8AC3E}">
        <p14:creationId xmlns:p14="http://schemas.microsoft.com/office/powerpoint/2010/main" val="3032393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b_Aloitusd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6169E23-3330-3C4B-928D-A989B72758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09" y="224347"/>
            <a:ext cx="4123499" cy="91885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C5FC308-B8EF-DD4A-8914-00832F65F956}"/>
              </a:ext>
            </a:extLst>
          </p:cNvPr>
          <p:cNvSpPr/>
          <p:nvPr userDrawn="1"/>
        </p:nvSpPr>
        <p:spPr>
          <a:xfrm>
            <a:off x="9149594" y="0"/>
            <a:ext cx="30424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04" tIns="60952" rIns="121904" bIns="609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 sz="2400">
              <a:highlight>
                <a:srgbClr val="FFFF00"/>
              </a:highlight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D6C193-FEC4-4846-8506-8BB8C60D78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29727" y="0"/>
            <a:ext cx="4362273" cy="6858000"/>
          </a:xfrm>
          <a:prstGeom prst="rect">
            <a:avLst/>
          </a:prstGeom>
        </p:spPr>
      </p:pic>
      <p:sp>
        <p:nvSpPr>
          <p:cNvPr id="13" name="Title 4">
            <a:extLst>
              <a:ext uri="{FF2B5EF4-FFF2-40B4-BE49-F238E27FC236}">
                <a16:creationId xmlns:a16="http://schemas.microsoft.com/office/drawing/2014/main" id="{870CB1AB-D5B9-9F4D-9329-62D3962052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1701802"/>
            <a:ext cx="5522384" cy="3059893"/>
          </a:xfrm>
        </p:spPr>
        <p:txBody>
          <a:bodyPr anchor="b" anchorCtr="0"/>
          <a:lstStyle>
            <a:lvl1pPr>
              <a:defRPr sz="5332">
                <a:solidFill>
                  <a:schemeClr val="bg1"/>
                </a:solidFill>
              </a:defRPr>
            </a:lvl1pPr>
          </a:lstStyle>
          <a:p>
            <a:r>
              <a:rPr lang="en-US"/>
              <a:t>&lt;</a:t>
            </a:r>
            <a:r>
              <a:rPr lang="en-US" err="1"/>
              <a:t>Lisää</a:t>
            </a:r>
            <a:r>
              <a:rPr lang="en-US"/>
              <a:t> </a:t>
            </a:r>
            <a:r>
              <a:rPr lang="en-US" err="1"/>
              <a:t>otsikko</a:t>
            </a:r>
            <a:r>
              <a:rPr lang="en-US"/>
              <a:t>&gt;</a:t>
            </a:r>
            <a:endParaRPr lang="fi-FI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534D5EC-DD74-894E-9D56-CBF405A7C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5397114"/>
            <a:ext cx="5522384" cy="1105289"/>
          </a:xfrm>
        </p:spPr>
        <p:txBody>
          <a:bodyPr lIns="0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esittäjän ja tilaisuuden tiedot&gt;</a:t>
            </a:r>
          </a:p>
        </p:txBody>
      </p:sp>
    </p:spTree>
    <p:extLst>
      <p:ext uri="{BB962C8B-B14F-4D97-AF65-F5344CB8AC3E}">
        <p14:creationId xmlns:p14="http://schemas.microsoft.com/office/powerpoint/2010/main" val="277501387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oitusdia_kape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6ADB5C2-738D-9C47-96A3-4BBF1239C8A4}"/>
              </a:ext>
            </a:extLst>
          </p:cNvPr>
          <p:cNvSpPr/>
          <p:nvPr userDrawn="1"/>
        </p:nvSpPr>
        <p:spPr>
          <a:xfrm>
            <a:off x="11716693" y="0"/>
            <a:ext cx="4753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04" tIns="60952" rIns="121904" bIns="609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 sz="2400">
              <a:highlight>
                <a:srgbClr val="FFFF00"/>
              </a:highlight>
            </a:endParaRPr>
          </a:p>
        </p:txBody>
      </p:sp>
      <p:sp>
        <p:nvSpPr>
          <p:cNvPr id="8" name="Rectangle 8"/>
          <p:cNvSpPr/>
          <p:nvPr userDrawn="1"/>
        </p:nvSpPr>
        <p:spPr>
          <a:xfrm>
            <a:off x="12329494" y="-3"/>
            <a:ext cx="2492820" cy="3060000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Jos haluat vaihtaa aloitussivulle kuvan, käytä tätä pohja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Napsauta hiiren oikealla painikkeella dian oikeassa laidassa sijaitsevaa kuvaa ja valitse ”Muuta kuva”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Voit hakea mieleisesi kuvan P:lle tallennettavasta valikoimasta valmiiksi käsiteltyjä kuvi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Etusivun kuvakokonaisuus muodostuu aina kolmesta suunnikkaasta, älä käytä tässä muunlaisia kuvia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3860428-2DAA-0E4D-8FF0-E464C3523A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4218" y="494251"/>
            <a:ext cx="4024985" cy="89373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1C62A25-A270-1849-BEEB-3375079E51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A8560C9-8F4E-A543-BEA3-AAD31F939663}"/>
              </a:ext>
            </a:extLst>
          </p:cNvPr>
          <p:cNvSpPr/>
          <p:nvPr userDrawn="1"/>
        </p:nvSpPr>
        <p:spPr>
          <a:xfrm>
            <a:off x="9149592" y="290821"/>
            <a:ext cx="2567101" cy="63197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04" tIns="60952" rIns="121904" bIns="609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 sz="2400">
              <a:highlight>
                <a:srgbClr val="FFFF00"/>
              </a:highlight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101833" y="361243"/>
            <a:ext cx="5614859" cy="6141156"/>
          </a:xfrm>
        </p:spPr>
        <p:txBody>
          <a:bodyPr>
            <a:normAutofit/>
          </a:bodyPr>
          <a:lstStyle>
            <a:lvl1pPr>
              <a:defRPr sz="2133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kuva </a:t>
            </a:r>
            <a:r>
              <a:rPr lang="fi-FI" err="1"/>
              <a:t>napsautamalla</a:t>
            </a:r>
            <a:r>
              <a:rPr lang="fi-FI"/>
              <a:t>&gt;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E23A46-601D-9C4A-AB55-1D7704B630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09" y="224347"/>
            <a:ext cx="4123499" cy="918859"/>
          </a:xfrm>
          <a:prstGeom prst="rect">
            <a:avLst/>
          </a:prstGeom>
        </p:spPr>
      </p:pic>
      <p:sp>
        <p:nvSpPr>
          <p:cNvPr id="16" name="Title 4">
            <a:extLst>
              <a:ext uri="{FF2B5EF4-FFF2-40B4-BE49-F238E27FC236}">
                <a16:creationId xmlns:a16="http://schemas.microsoft.com/office/drawing/2014/main" id="{63779013-36B5-CA4E-8720-3EEF669750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1701802"/>
            <a:ext cx="5522384" cy="3059893"/>
          </a:xfrm>
        </p:spPr>
        <p:txBody>
          <a:bodyPr anchor="b" anchorCtr="0"/>
          <a:lstStyle>
            <a:lvl1pPr>
              <a:defRPr sz="5332">
                <a:solidFill>
                  <a:schemeClr val="bg1"/>
                </a:solidFill>
              </a:defRPr>
            </a:lvl1pPr>
          </a:lstStyle>
          <a:p>
            <a:r>
              <a:rPr lang="en-US"/>
              <a:t>&lt;</a:t>
            </a:r>
            <a:r>
              <a:rPr lang="en-US" err="1"/>
              <a:t>Lisää</a:t>
            </a:r>
            <a:r>
              <a:rPr lang="en-US"/>
              <a:t> </a:t>
            </a:r>
            <a:r>
              <a:rPr lang="en-US" err="1"/>
              <a:t>otsikko</a:t>
            </a:r>
            <a:r>
              <a:rPr lang="en-US"/>
              <a:t>&gt;</a:t>
            </a:r>
            <a:endParaRPr lang="fi-FI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15A7273-0B96-814F-AAA4-FB69198DAD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5397114"/>
            <a:ext cx="5522384" cy="1105289"/>
          </a:xfrm>
        </p:spPr>
        <p:txBody>
          <a:bodyPr lIns="0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esittäjän ja tilaisuuden tiedot&gt;</a:t>
            </a:r>
          </a:p>
        </p:txBody>
      </p:sp>
    </p:spTree>
    <p:extLst>
      <p:ext uri="{BB962C8B-B14F-4D97-AF65-F5344CB8AC3E}">
        <p14:creationId xmlns:p14="http://schemas.microsoft.com/office/powerpoint/2010/main" val="1467909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b_Aloitusdia_kape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6815B44-4CB0-D94E-A3CC-D17F43F97EA7}"/>
              </a:ext>
            </a:extLst>
          </p:cNvPr>
          <p:cNvSpPr/>
          <p:nvPr userDrawn="1"/>
        </p:nvSpPr>
        <p:spPr>
          <a:xfrm>
            <a:off x="12329494" y="-3"/>
            <a:ext cx="2492820" cy="3060000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Jos haluat vaihtaa aloitussivulle kuvan, käytä tätä pohja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Napsauta hiiren oikealla painikkeella dian oikeassa laidassa sijaitsevaa kuvaa ja valitse ”Muuta kuva”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Voit hakea mieleisesi kuvan P:lle tallennettavasta valikoimasta valmiiksi käsiteltyjä kuvi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Etusivun kuvakokonaisuus muodostuu aina kolmesta suunnikkaasta, älä käytä tässä muunlaisia kuvia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AF76B5F-28CE-7A43-A1F2-A961980BC8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8598" y="227267"/>
            <a:ext cx="4024985" cy="89373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CD206B1-44C9-914F-AD86-11C5542F168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9A320AF-4189-AA4E-BC3D-540276AF2E8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1" y="368773"/>
            <a:ext cx="5620691" cy="6130573"/>
          </a:xfrm>
          <a:noFill/>
        </p:spPr>
        <p:txBody>
          <a:bodyPr>
            <a:normAutofit/>
          </a:bodyPr>
          <a:lstStyle>
            <a:lvl1pPr>
              <a:defRPr sz="2133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/>
              <a:t>&lt;Lisää kuva </a:t>
            </a:r>
            <a:r>
              <a:rPr lang="fi-FI" err="1"/>
              <a:t>napsautamalla</a:t>
            </a:r>
            <a:r>
              <a:rPr lang="fi-FI"/>
              <a:t>&gt;</a:t>
            </a:r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4AE952E2-03D3-3F4A-B10D-200903D962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1701802"/>
            <a:ext cx="5522384" cy="3059893"/>
          </a:xfrm>
        </p:spPr>
        <p:txBody>
          <a:bodyPr anchor="b" anchorCtr="0"/>
          <a:lstStyle>
            <a:lvl1pPr>
              <a:defRPr sz="5332"/>
            </a:lvl1pPr>
          </a:lstStyle>
          <a:p>
            <a:r>
              <a:rPr lang="en-US"/>
              <a:t>&lt;</a:t>
            </a:r>
            <a:r>
              <a:rPr lang="en-US" err="1"/>
              <a:t>Lisää</a:t>
            </a:r>
            <a:r>
              <a:rPr lang="en-US"/>
              <a:t> </a:t>
            </a:r>
            <a:r>
              <a:rPr lang="en-US" err="1"/>
              <a:t>otsikko</a:t>
            </a:r>
            <a:r>
              <a:rPr lang="en-US"/>
              <a:t>&gt;</a:t>
            </a:r>
            <a:endParaRPr lang="fi-FI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A553480-3C0E-574E-BD13-DB2555F498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5397114"/>
            <a:ext cx="5522384" cy="1105289"/>
          </a:xfrm>
        </p:spPr>
        <p:txBody>
          <a:bodyPr lIns="0"/>
          <a:lstStyle>
            <a:lvl1pPr marL="0" indent="0">
              <a:buNone/>
              <a:defRPr sz="2400"/>
            </a:lvl1pPr>
          </a:lstStyle>
          <a:p>
            <a:r>
              <a:rPr lang="fi-FI"/>
              <a:t>&lt;Lisää esittäjän ja tilaisuuden tiedot&gt;</a:t>
            </a:r>
          </a:p>
        </p:txBody>
      </p:sp>
    </p:spTree>
    <p:extLst>
      <p:ext uri="{BB962C8B-B14F-4D97-AF65-F5344CB8AC3E}">
        <p14:creationId xmlns:p14="http://schemas.microsoft.com/office/powerpoint/2010/main" val="2773793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2 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2329494" y="-1"/>
            <a:ext cx="2492820" cy="3856384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Tämä on perustekstidia, jota tulee käyttää aina kun mahdollist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yös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ksipalstaiset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 tekstidiat ovat suositeltavi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Näiden oikeassa laidassa olevat graafiset elementit tekevät esityksen ilmeestä tunnistettavan ja johdonmukaisen.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uuta tarvittaessa alatunnisteen tietoihin organisaatiosi nimi valitsemalla valikosta Lisää &gt; Ylä- ja alatunniste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äytä esityksissä sivunumeroita ja päivämäärää, jotka on valmiiksi asetettu alatunnisteen tietoihin.</a:t>
            </a:r>
          </a:p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fi-FI" sz="1333" b="0" i="0" u="none" strike="noStrike" kern="1200" cap="none" spc="0" normalizeH="0" baseline="0" noProof="0">
              <a:ln>
                <a:noFill/>
              </a:ln>
              <a:solidFill>
                <a:srgbClr val="626971"/>
              </a:solidFill>
              <a:effectLst/>
              <a:uLnTx/>
              <a:uFillTx/>
              <a:latin typeface="Helvetic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FBBCBA-ADED-9D43-82E8-6A12B70A89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CAF3D2-0CCA-924D-BCED-7E0A6E981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42707F-044F-4A53-9F02-497876CFAD7F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E27ECC-EC61-2F44-939C-5B41748E6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B02F8C-7C17-A348-893A-39F41A413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B73718DE-04D0-2543-B468-F97A6BDD8B5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34434" y="2133602"/>
            <a:ext cx="98425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9934FCDF-D550-403E-AF17-43F0D8B3E3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06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1620">
          <p15:clr>
            <a:srgbClr val="FBAE40"/>
          </p15:clr>
        </p15:guide>
        <p15:guide id="1" pos="508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1 r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2329494" y="-1"/>
            <a:ext cx="2492820" cy="3856384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Tämä on perustekstidia, jota tulee käyttää aina kun mahdollist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yös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ksipalstaiset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 tekstidiat ovat suositeltavi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Näiden oikeassa laidassa olevat graafiset elementit tekevät esityksen ilmeestä tunnistettavan ja johdonmukaisen.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uuta tarvittaessa alatunnisteen tietoihin organisaatiosi nimi valitsemalla valikosta Lisää &gt; Ylä- ja alatunniste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äytä esityksissä sivunumeroita ja päivämäärää, jotka on valmiiksi asetettu alatunnisteen tietoihin.</a:t>
            </a:r>
          </a:p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fi-FI" sz="1333" b="0" i="0" u="none" strike="noStrike" kern="1200" cap="none" spc="0" normalizeH="0" baseline="0" noProof="0">
              <a:ln>
                <a:noFill/>
              </a:ln>
              <a:solidFill>
                <a:srgbClr val="626971"/>
              </a:solidFill>
              <a:effectLst/>
              <a:uLnTx/>
              <a:uFillTx/>
              <a:latin typeface="Helvetica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CAF3D2-0CCA-924D-BCED-7E0A6E981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D025A-C811-4758-B34C-F2C3ACF7BCE5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E27ECC-EC61-2F44-939C-5B41748E6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B02F8C-7C17-A348-893A-39F41A413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11D3265-B181-FF49-9159-C456EF5004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C33F5B55-A33A-534E-B852-406E31E7EE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34434" y="1701800"/>
            <a:ext cx="9842500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B9FD3ED-E7B9-4284-AE65-5E098CC1A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108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1620">
          <p15:clr>
            <a:srgbClr val="FBAE40"/>
          </p15:clr>
        </p15:guide>
        <p15:guide id="1" pos="50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Sinin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B10FEF-2EFD-4F38-B25A-28C2D5F87858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883707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2_sisältöpalstaa 2 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E5D7BB-F21E-F84A-A59C-0FEB26DAA6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896534F-CB86-4F0F-A466-096541C9F1E4}" type="datetime1">
              <a:rPr lang="fi-FI" smtClean="0"/>
              <a:t>21.4.2024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156C0E-EE33-9041-BBD5-EC2CC146AE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146A42-79B7-8949-87AB-8CFEC226B5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451ADC-3BA1-FA45-A410-75230DEF1E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143" y="365126"/>
            <a:ext cx="9845793" cy="1336673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515DAC1-6750-6D4C-B407-2BAA1F94BE2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8668" y="2133602"/>
            <a:ext cx="4774832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895B9F7E-7414-E145-A9DE-987A1564B51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412919" y="2133602"/>
            <a:ext cx="4764015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EA57CB0-4E41-4A53-B3EF-E67579391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90194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2_sisältöpalstaa 1 r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E5D7BB-F21E-F84A-A59C-0FEB26DAA6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DB8DC2-E98B-4D68-A9B8-A68A4442E5FD}" type="datetime1">
              <a:rPr lang="fi-FI" smtClean="0"/>
              <a:t>21.4.2024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156C0E-EE33-9041-BBD5-EC2CC146AE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146A42-79B7-8949-87AB-8CFEC226B5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3DB15D82-F2D8-534F-9351-387404A1A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A9FA7D81-E7A9-3845-93C4-96725698555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435" y="1701800"/>
            <a:ext cx="4771540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5C5A8EB1-3CF4-0443-83C9-95FBCDEE1E6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405394" y="1701800"/>
            <a:ext cx="4771540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FA7436BC-E218-40AA-B58A-6243B2B537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3744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uva vasemmalla 2 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A8906C-FEED-5845-8A00-FDA383885A2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4BFF231-D761-42CC-B501-8B2ECAECF3F8}" type="datetime1">
              <a:rPr lang="fi-FI" smtClean="0"/>
              <a:t>21.4.2024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82B0EA-8EA2-CF48-9F00-118760EF5E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431CC-1005-1546-8B67-999C1C04243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12E75C-AC2A-3240-9016-8287C2135A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8A58F7D-7358-F840-A60B-7F39C2D78FB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434" y="2139925"/>
            <a:ext cx="5522384" cy="4025927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kuva napsauttamalla&gt;</a:t>
            </a:r>
            <a:endParaRPr lang="fi-FI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3AAC20D3-57EE-7F45-9B3B-D6F49A7C075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6001" y="2139925"/>
            <a:ext cx="4080933" cy="40259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CE2D39D-7042-4707-8768-7E0BB73E3D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793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uva vasemmalla 1 r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A8906C-FEED-5845-8A00-FDA383885A2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B161522-2007-4409-BA2F-2813D7620ACE}" type="datetime1">
              <a:rPr lang="fi-FI" smtClean="0"/>
              <a:t>21.4.2024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82B0EA-8EA2-CF48-9F00-118760EF5E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431CC-1005-1546-8B67-999C1C04243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12E75C-AC2A-3240-9016-8287C2135A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9"/>
            <a:ext cx="9842500" cy="902757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8A58F7D-7358-F840-A60B-7F39C2D78FB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434" y="1701800"/>
            <a:ext cx="5522384" cy="4464051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kuva napsauttamalla&gt;</a:t>
            </a:r>
            <a:endParaRPr lang="fi-FI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3AAC20D3-57EE-7F45-9B3B-D6F49A7C075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6001" y="1701800"/>
            <a:ext cx="4080933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3AC45A2-EA6A-4CC8-86DD-CC14DAADD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30109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uva Oikealla 2 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6F968F-A337-EE4E-BCBF-6E82EC1265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A903FA-3BB7-D14B-B568-81B7FBF124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62E9B8-B40C-44C3-BE87-6E345586175B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FAC801-B285-3241-977B-3A581B64F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90CAC-7E23-B347-8C7F-8A27388175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9BCDE032-6248-6943-851D-B04E7C81E77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434" y="2139925"/>
            <a:ext cx="5522384" cy="40259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AADF97E4-AE8D-4245-A6CB-6C78F5A395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1" y="2139925"/>
            <a:ext cx="4080933" cy="4025927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kuva napsauttamalla&gt;</a:t>
            </a:r>
            <a:endParaRPr lang="fi-FI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9439486-F20F-4FDF-A54F-DBE9C4A128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78471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uva Oikealla 1 r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A903FA-3BB7-D14B-B568-81B7FBF124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6D2BEF1-E100-401E-90E9-BFDC7115EB6A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FAC801-B285-3241-977B-3A581B64F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90CAC-7E23-B347-8C7F-8A27388175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BC72D7D-0B51-E646-AF3F-3CFD74363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8A085E6-5C0D-3D42-8271-088F462C23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434" y="1701800"/>
            <a:ext cx="5522384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160DF28A-7A8B-8F48-838C-31D4FB5648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1" y="1701800"/>
            <a:ext cx="4080933" cy="4464051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kuva napsauttamalla&gt;</a:t>
            </a:r>
            <a:endParaRPr lang="fi-FI"/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B916C89D-97C7-4632-B55E-E924B24AD4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90017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Iso kuva 2 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4435" y="2139926"/>
            <a:ext cx="9842501" cy="4025927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kuva napsauttamalla&gt;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06B1B8-0808-4D45-848E-696C4DDE9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D5A54B-2ABA-D84D-8182-B93C11AFA5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E93A53-639E-43C3-B9CD-D6FCE9E577CC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15868C-531E-CC4A-BC98-C0E89E4423C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3186BC-6495-BF4C-B323-F4B24782EAE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D7BC489-6B00-4208-8CD4-C3E065BD64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354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Iso kuva 1 r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4435" y="1701800"/>
            <a:ext cx="9842501" cy="4464051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kuva napsauttamalla&gt;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06B1B8-0808-4D45-848E-696C4DDE9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9"/>
            <a:ext cx="9842500" cy="902757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D5A54B-2ABA-D84D-8182-B93C11AFA5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460386-1DA0-415A-B9F6-B8DCC2C3E160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15868C-531E-CC4A-BC98-C0E89E4423C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3186BC-6495-BF4C-B323-F4B24782EAE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FB144B-018D-4504-8084-4B1EA39AEC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490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isikko_Isko_kuva_kuvateksti 2 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4435" y="2139924"/>
            <a:ext cx="9842501" cy="3236712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kuva napsauttamalla&gt;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608FE-8888-5246-9F76-2680F44A1FF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A505A2E-D054-483E-816B-5FC6191C1FF8}" type="datetime1">
              <a:rPr lang="fi-FI" smtClean="0"/>
              <a:t>21.4.2024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3B2DF2-064F-1440-90E1-4D49F2199F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39C3FF-120F-3448-8B23-49175ABC9B0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AEBAE7-A83B-3942-8C13-C09B4CB143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434" y="5573488"/>
            <a:ext cx="9842500" cy="59236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133"/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5933274-A86A-B64D-8075-E04AFF2ED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6"/>
            <a:ext cx="9842500" cy="1336673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pic>
        <p:nvPicPr>
          <p:cNvPr id="12" name="Picture 9">
            <a:extLst>
              <a:ext uri="{FF2B5EF4-FFF2-40B4-BE49-F238E27FC236}">
                <a16:creationId xmlns:a16="http://schemas.microsoft.com/office/drawing/2014/main" id="{D6E12EF9-436B-491C-8CF4-5E1C96452C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77826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isikko_Isko_kuva_kuvateksti 1 r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4435" y="1701801"/>
            <a:ext cx="9842501" cy="3674836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kuva napsauttamalla&gt;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608FE-8888-5246-9F76-2680F44A1FF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E9F9AA8-1D61-40D7-B0C5-1AC1ABCEA2AA}" type="datetime1">
              <a:rPr lang="fi-FI" smtClean="0"/>
              <a:t>21.4.2024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3B2DF2-064F-1440-90E1-4D49F2199F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39C3FF-120F-3448-8B23-49175ABC9B0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AEBAE7-A83B-3942-8C13-C09B4CB143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434" y="5573488"/>
            <a:ext cx="9842500" cy="59236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133"/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5933274-A86A-B64D-8075-E04AFF2ED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pic>
        <p:nvPicPr>
          <p:cNvPr id="12" name="Picture 9">
            <a:extLst>
              <a:ext uri="{FF2B5EF4-FFF2-40B4-BE49-F238E27FC236}">
                <a16:creationId xmlns:a16="http://schemas.microsoft.com/office/drawing/2014/main" id="{73BCF8A6-2B4A-45B7-A3D7-0D318F6E6D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054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F64C60D-5BDD-457A-B2B8-8A4E7FBA1CD7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97367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 2 riviä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2329494" y="-1"/>
            <a:ext cx="2492820" cy="3856384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Tämä on perustekstidia, jota tulee käyttää aina kun mahdollist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yös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ksipalstaiset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 tekstidiat ovat suositeltavi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Näiden oikeassa laidassa olevat graafiset elementit tekevät esityksen ilmeestä tunnistettavan ja johdonmukaisen.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uuta tarvittaessa alatunnisteen tietoihin organisaatiosi nimi valitsemalla valikosta Lisää &gt; Ylä- ja alatunniste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äytä esityksissä sivunumeroita ja päivämäärää, jotka on valmiiksi asetettu alatunnisteen tietoihin.</a:t>
            </a:r>
          </a:p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fi-FI" sz="1333" b="0" i="0" u="none" strike="noStrike" kern="1200" cap="none" spc="0" normalizeH="0" baseline="0" noProof="0">
              <a:ln>
                <a:noFill/>
              </a:ln>
              <a:solidFill>
                <a:srgbClr val="626971"/>
              </a:solidFill>
              <a:effectLst/>
              <a:uLnTx/>
              <a:uFillTx/>
              <a:latin typeface="Helvetic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FBBCBA-ADED-9D43-82E8-6A12B70A89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CAF3D2-0CCA-924D-BCED-7E0A6E981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8E1A1-A4CF-418B-9CA1-CB28C3B4655A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E27ECC-EC61-2F44-939C-5B41748E6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B02F8C-7C17-A348-893A-39F41A413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B73718DE-04D0-2543-B468-F97A6BDD8B5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34434" y="2133602"/>
            <a:ext cx="98425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1FCD2B-23D6-D84E-A8C4-AA6CD4FF05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598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1620">
          <p15:clr>
            <a:srgbClr val="FBAE40"/>
          </p15:clr>
        </p15:guide>
        <p15:guide id="1" pos="508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 1 rivi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2329494" y="-1"/>
            <a:ext cx="2492820" cy="3856384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Tämä on perustekstidia, jota tulee käyttää aina kun mahdollist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yös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ksipalstaiset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 tekstidiat ovat suositeltavi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Näiden oikeassa laidassa olevat graafiset elementit tekevät esityksen ilmeestä tunnistettavan ja johdonmukaisen.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uuta tarvittaessa alatunnisteen tietoihin organisaatiosi nimi valitsemalla valikosta Lisää &gt; Ylä- ja alatunniste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äytä esityksissä sivunumeroita ja päivämäärää, jotka on valmiiksi asetettu alatunnisteen tietoihin.</a:t>
            </a:r>
          </a:p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fi-FI" sz="1333" b="0" i="0" u="none" strike="noStrike" kern="1200" cap="none" spc="0" normalizeH="0" baseline="0" noProof="0">
              <a:ln>
                <a:noFill/>
              </a:ln>
              <a:solidFill>
                <a:srgbClr val="626971"/>
              </a:solidFill>
              <a:effectLst/>
              <a:uLnTx/>
              <a:uFillTx/>
              <a:latin typeface="Helvetica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CAF3D2-0CCA-924D-BCED-7E0A6E981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F65FB-8080-4D22-A5BB-8B85DBDC594C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E27ECC-EC61-2F44-939C-5B41748E6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B02F8C-7C17-A348-893A-39F41A413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11D3265-B181-FF49-9159-C456EF5004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C33F5B55-A33A-534E-B852-406E31E7EE2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34434" y="1701800"/>
            <a:ext cx="9842500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1EB6A67-DF18-E842-A035-245004F409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22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1620">
          <p15:clr>
            <a:srgbClr val="FBAE40"/>
          </p15:clr>
        </p15:guide>
        <p15:guide id="1" pos="508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_2_sisältöpalstaa 2 riviä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E5D7BB-F21E-F84A-A59C-0FEB26DAA6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3BEED9A-0012-47F7-AD80-DD569CA1DA91}" type="datetime1">
              <a:rPr lang="fi-FI" smtClean="0"/>
              <a:t>21.4.2024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156C0E-EE33-9041-BBD5-EC2CC146AE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146A42-79B7-8949-87AB-8CFEC226B5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451ADC-3BA1-FA45-A410-75230DEF1E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143" y="365126"/>
            <a:ext cx="9845793" cy="1336673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515DAC1-6750-6D4C-B407-2BAA1F94BE2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8668" y="2133602"/>
            <a:ext cx="4774832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895B9F7E-7414-E145-A9DE-987A1564B51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412919" y="2133602"/>
            <a:ext cx="4764015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8486526-8511-F043-B51E-74AD1579E2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1994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_2_sisältöpalstaa 1 rivi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E5D7BB-F21E-F84A-A59C-0FEB26DAA6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D73C717-93C6-474E-BE2F-C330954688C1}" type="datetime1">
              <a:rPr lang="fi-FI" smtClean="0"/>
              <a:t>21.4.2024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156C0E-EE33-9041-BBD5-EC2CC146AE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146A42-79B7-8949-87AB-8CFEC226B5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3DB15D82-F2D8-534F-9351-387404A1A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A9FA7D81-E7A9-3845-93C4-96725698555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435" y="1701800"/>
            <a:ext cx="4771540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5C5A8EB1-3CF4-0443-83C9-95FBCDEE1E6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405394" y="1701800"/>
            <a:ext cx="4771540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B787564-CE63-2749-839B-F93F0C7059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8915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i ja kuva vasemmalla 2 riviä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A8906C-FEED-5845-8A00-FDA383885A2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042AB8-93BC-488A-A932-DB92DF0539A5}" type="datetime1">
              <a:rPr lang="fi-FI" smtClean="0"/>
              <a:t>21.4.2024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82B0EA-8EA2-CF48-9F00-118760EF5E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431CC-1005-1546-8B67-999C1C04243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12E75C-AC2A-3240-9016-8287C2135A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8A58F7D-7358-F840-A60B-7F39C2D78FB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434" y="2139925"/>
            <a:ext cx="5522384" cy="4025927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kuva napsauttamalla&gt;</a:t>
            </a:r>
            <a:endParaRPr lang="fi-FI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3AAC20D3-57EE-7F45-9B3B-D6F49A7C075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6001" y="2139925"/>
            <a:ext cx="4080933" cy="40259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F147607-4125-4F4E-9369-7C1ACD8985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9494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i ja kuva vasemmalla 1 rivi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A8906C-FEED-5845-8A00-FDA383885A2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8B37116-F76E-4D2F-94CE-D1614E520934}" type="datetime1">
              <a:rPr lang="fi-FI" smtClean="0"/>
              <a:t>21.4.2024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82B0EA-8EA2-CF48-9F00-118760EF5E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431CC-1005-1546-8B67-999C1C04243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12E75C-AC2A-3240-9016-8287C2135A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9"/>
            <a:ext cx="9842500" cy="902757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8A58F7D-7358-F840-A60B-7F39C2D78FB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434" y="1701800"/>
            <a:ext cx="5522384" cy="4464051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kuva napsauttamalla&gt;</a:t>
            </a:r>
            <a:endParaRPr lang="fi-FI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3AAC20D3-57EE-7F45-9B3B-D6F49A7C075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6001" y="1701800"/>
            <a:ext cx="4080933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35C1A90-8B94-084B-A899-CD369C5B37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8220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i ja kuva Oikealla 2 riviä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6F968F-A337-EE4E-BCBF-6E82EC1265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A903FA-3BB7-D14B-B568-81B7FBF124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B3A77F4-90DD-4205-99E1-76F940211578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FAC801-B285-3241-977B-3A581B64F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90CAC-7E23-B347-8C7F-8A27388175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9BCDE032-6248-6943-851D-B04E7C81E77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434" y="2139925"/>
            <a:ext cx="5522384" cy="40259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AADF97E4-AE8D-4245-A6CB-6C78F5A395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1" y="2139925"/>
            <a:ext cx="4080933" cy="4025927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kuva napsauttamalla&gt;</a:t>
            </a:r>
            <a:endParaRPr lang="fi-FI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694970E-64F5-F94C-BDC7-37F606055B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02238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i ja kuva Oikealla 1 rivi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A903FA-3BB7-D14B-B568-81B7FBF1246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3FB7D4-2D81-4969-B17E-7B1A988B2A1E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FAC801-B285-3241-977B-3A581B64F9B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090CAC-7E23-B347-8C7F-8A27388175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BC72D7D-0B51-E646-AF3F-3CFD74363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8A085E6-5C0D-3D42-8271-088F462C23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434" y="1701800"/>
            <a:ext cx="5522384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160DF28A-7A8B-8F48-838C-31D4FB5648D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96001" y="1701800"/>
            <a:ext cx="4080933" cy="4464051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kuva napsauttamalla&gt;</a:t>
            </a:r>
            <a:endParaRPr lang="fi-FI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2DADB09-8744-1145-BDDB-115EB0C8F6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5479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Iso kuva 2 riviä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4435" y="2139926"/>
            <a:ext cx="9842501" cy="4025927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kuva napsauttamalla&gt;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06B1B8-0808-4D45-848E-696C4DDE9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D5A54B-2ABA-D84D-8182-B93C11AFA5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12C499-B1F5-4C27-A341-9AF303F98344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15868C-531E-CC4A-BC98-C0E89E4423C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3186BC-6495-BF4C-B323-F4B24782EAE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5BF3DF3-B09C-DE43-B906-25C72A4EEB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0964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Iso kuva 1 rivi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4435" y="1701800"/>
            <a:ext cx="9842501" cy="4464051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kuva napsauttamalla&gt;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06B1B8-0808-4D45-848E-696C4DDE9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9"/>
            <a:ext cx="9842500" cy="902757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D5A54B-2ABA-D84D-8182-B93C11AFA5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8BF841A-4A0F-42A2-9A1E-711737D995C6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15868C-531E-CC4A-BC98-C0E89E4423C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3186BC-6495-BF4C-B323-F4B24782EAE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2A5C5B-8C3D-924D-8F18-08FCBA946B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3139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DF93C1-96B7-43A4-88C3-A796BB2F869C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6192463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isikko_Isko_kuva_kuvateksti 2 _kapea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4435" y="2139924"/>
            <a:ext cx="9842501" cy="3236712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kuva napsauttamalla&gt;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608FE-8888-5246-9F76-2680F44A1FF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F693693-6BE8-4045-8181-886BA8156170}" type="datetime1">
              <a:rPr lang="fi-FI" smtClean="0"/>
              <a:t>21.4.2024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3B2DF2-064F-1440-90E1-4D49F2199F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39C3FF-120F-3448-8B23-49175ABC9B0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AEBAE7-A83B-3942-8C13-C09B4CB143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434" y="5573488"/>
            <a:ext cx="9842500" cy="59236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133"/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5933274-A86A-B64D-8075-E04AFF2ED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6"/>
            <a:ext cx="9842500" cy="1336673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A665863-C5E5-664A-A74C-6AD764BCF7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2780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isikko_Isko_kuva_kuvateksti 1 rivi_kap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34435" y="1701801"/>
            <a:ext cx="9842501" cy="3674836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bg1"/>
                </a:solidFill>
              </a:defRPr>
            </a:lvl1pPr>
          </a:lstStyle>
          <a:p>
            <a:r>
              <a:rPr lang="fi-FI"/>
              <a:t>&lt;Lisää kuva napsauttamalla&gt;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608FE-8888-5246-9F76-2680F44A1FF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77035AD-4C7A-4BA9-AABB-378A67443EF3}" type="datetime1">
              <a:rPr lang="fi-FI" smtClean="0"/>
              <a:t>21.4.2024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3B2DF2-064F-1440-90E1-4D49F2199F8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39C3FF-120F-3448-8B23-49175ABC9B0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DAEBAE7-A83B-3942-8C13-C09B4CB143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434" y="5573488"/>
            <a:ext cx="9842500" cy="59236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133"/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5933274-A86A-B64D-8075-E04AFF2ED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9E9A7F7-253C-B142-8C3E-18BD4AF392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5392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, avainsan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2329494" y="-1"/>
            <a:ext cx="2492820" cy="1126436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Tämä diatyyppi on tarkoitettu esityksen johtoajatusten esittämiseen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AB4C5EE-81C9-D345-9E51-F1D29D30E7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434" y="2133602"/>
            <a:ext cx="9837151" cy="4032251"/>
          </a:xfrm>
        </p:spPr>
        <p:txBody>
          <a:bodyPr anchor="t">
            <a:normAutofit/>
          </a:bodyPr>
          <a:lstStyle>
            <a:lvl1pPr algn="l">
              <a:lnSpc>
                <a:spcPts val="7732"/>
              </a:lnSpc>
              <a:defRPr sz="8132" b="1" cap="all" baseline="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&lt;Lisää otsikko&gt;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7B1D87-0EE3-504B-983A-AB76325205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3" y="221847"/>
            <a:ext cx="4123499" cy="918859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092855FF-45D5-482A-BE4C-5D514F2E7D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17270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ohdantosiv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436" y="2133602"/>
            <a:ext cx="9840845" cy="4032251"/>
          </a:xfrm>
        </p:spPr>
        <p:txBody>
          <a:bodyPr anchor="b">
            <a:normAutofit/>
          </a:bodyPr>
          <a:lstStyle>
            <a:lvl1pPr algn="l">
              <a:lnSpc>
                <a:spcPts val="7679"/>
              </a:lnSpc>
              <a:defRPr sz="4800" b="1" cap="none" baseline="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&lt;Lisää otsikko&gt;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2329494" y="-1"/>
            <a:ext cx="2492820" cy="2088000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Johdantosivua voit käyttää välilehtenä jakaaksesi esityksesi osiin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Johdantosivuksi sopii myös suurikokoisella kuvalla varustettu diatyyppi, mutta älä yhdistä samaan esitykseen kahta erilaista johdantosivutyyppiä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0D39AA-C316-7748-9073-4A096F9B9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3" y="221847"/>
            <a:ext cx="4123499" cy="918859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952FBAC3-C758-491D-9D0A-AD034F18CBF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20387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dea, avainsana_kape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2329494" y="-1"/>
            <a:ext cx="2492820" cy="1126436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Tämä diatyyppi on tarkoitettu esityksen johtoajatusten esittämiseen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AB4C5EE-81C9-D345-9E51-F1D29D30E7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434" y="2133602"/>
            <a:ext cx="9837151" cy="4032251"/>
          </a:xfrm>
        </p:spPr>
        <p:txBody>
          <a:bodyPr anchor="t">
            <a:normAutofit/>
          </a:bodyPr>
          <a:lstStyle>
            <a:lvl1pPr algn="l">
              <a:lnSpc>
                <a:spcPts val="7732"/>
              </a:lnSpc>
              <a:defRPr sz="8132" b="1" cap="all" baseline="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&lt;Lisää otsikko&gt;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7B1D87-0EE3-504B-983A-AB76325205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443" y="207578"/>
            <a:ext cx="4123499" cy="9188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71642E3-4AFD-3846-95E2-697A039DF7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9452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Johdantosivu_kape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4436" y="2133602"/>
            <a:ext cx="9840845" cy="4032251"/>
          </a:xfrm>
        </p:spPr>
        <p:txBody>
          <a:bodyPr anchor="b">
            <a:normAutofit/>
          </a:bodyPr>
          <a:lstStyle>
            <a:lvl1pPr algn="l">
              <a:lnSpc>
                <a:spcPts val="7679"/>
              </a:lnSpc>
              <a:defRPr sz="4800" b="1" cap="none" baseline="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&lt;Lisää otsikko&gt;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2329494" y="-1"/>
            <a:ext cx="2492820" cy="2088000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Johdantosivua voit käyttää välilehtenä jakaaksesi esityksesi osiin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Johdantosivuksi sopii myös suurikokoisella kuvalla varustettu diatyyppi, mutta älä yhdistä samaan esitykseen kahta erilaista johdantosivutyyppiä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0D39AA-C316-7748-9073-4A096F9B9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3" y="221847"/>
            <a:ext cx="4123499" cy="9188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F2A3BE-4A9E-AE44-A5C8-235C414BB4A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9297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petusdia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14917" y="2133600"/>
            <a:ext cx="9362016" cy="1295400"/>
          </a:xfrm>
        </p:spPr>
        <p:txBody>
          <a:bodyPr anchor="ctr">
            <a:normAutofit/>
          </a:bodyPr>
          <a:lstStyle>
            <a:lvl1pPr algn="ctr">
              <a:lnSpc>
                <a:spcPts val="7679"/>
              </a:lnSpc>
              <a:defRPr sz="4800" b="1" cap="none" baseline="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&lt;Lisää tekstiä&gt;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2329494" y="3"/>
            <a:ext cx="2492820" cy="1338471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Voit päättää esityksesi tähän lopetusdiaan, jossa on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RT:n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tuttu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slogan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ja graafisista elementeistä koostuva kaupunkisiluetti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39F5AA4-1DD0-D140-98B6-D50F8DD834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957657"/>
            <a:ext cx="12192000" cy="260397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F6D6DD6-2EEB-E947-916E-CB377884C4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3" y="221847"/>
            <a:ext cx="4123499" cy="91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38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1246">
          <p15:clr>
            <a:srgbClr val="FBAE40"/>
          </p15:clr>
        </p15:guide>
        <p15:guide id="1" pos="288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opetusdia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856819" y="357719"/>
            <a:ext cx="5865399" cy="1338469"/>
          </a:xfrm>
        </p:spPr>
        <p:txBody>
          <a:bodyPr anchor="ctr">
            <a:normAutofit/>
          </a:bodyPr>
          <a:lstStyle>
            <a:lvl1pPr algn="ctr">
              <a:lnSpc>
                <a:spcPts val="7679"/>
              </a:lnSpc>
              <a:defRPr sz="2667" b="1" cap="none" baseline="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&lt;Lisää tekstiä&gt;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2329494" y="3"/>
            <a:ext cx="2492820" cy="1338471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Voit päättää esityksesi tähän lopetusdiaan, jossa on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RT:n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tuttu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slogan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ja graafisista elementeistä koostuva kaupunkisiluetti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04C96D-618F-B246-A7C8-D6A70B143B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957657"/>
            <a:ext cx="12192000" cy="260397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21A20CC-BB43-5946-9BF4-1245960A6E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3" y="221847"/>
            <a:ext cx="4123499" cy="91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554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1246">
          <p15:clr>
            <a:srgbClr val="FBAE40"/>
          </p15:clr>
        </p15:guide>
        <p15:guide id="1" pos="288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etus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9176" y="1714217"/>
            <a:ext cx="9826935" cy="916691"/>
          </a:xfrm>
        </p:spPr>
        <p:txBody>
          <a:bodyPr anchor="ctr">
            <a:normAutofit/>
          </a:bodyPr>
          <a:lstStyle>
            <a:lvl1pPr algn="l">
              <a:lnSpc>
                <a:spcPts val="7679"/>
              </a:lnSpc>
              <a:defRPr sz="4800" b="1" cap="none" baseline="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&lt;Lisätietoja&gt;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39175" y="2640075"/>
            <a:ext cx="9826936" cy="797521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en-US" sz="3200" b="1" cap="none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143" indent="0">
              <a:buNone/>
              <a:defRPr lang="en-US" smtClean="0">
                <a:solidFill>
                  <a:schemeClr val="tx2"/>
                </a:solidFill>
              </a:defRPr>
            </a:lvl2pPr>
            <a:lvl3pPr>
              <a:defRPr lang="en-US" smtClean="0">
                <a:solidFill>
                  <a:schemeClr val="tx2"/>
                </a:solidFill>
              </a:defRPr>
            </a:lvl3pPr>
            <a:lvl4pPr>
              <a:defRPr lang="en-US" smtClean="0">
                <a:solidFill>
                  <a:schemeClr val="tx2"/>
                </a:solidFill>
              </a:defRPr>
            </a:lvl4pPr>
            <a:lvl5pPr marL="1828571" indent="0">
              <a:buNone/>
              <a:defRPr lang="fi-FI">
                <a:solidFill>
                  <a:schemeClr val="tx2"/>
                </a:solidFill>
              </a:defRPr>
            </a:lvl5pPr>
          </a:lstStyle>
          <a:p>
            <a:pPr lvl="0">
              <a:lnSpc>
                <a:spcPts val="7679"/>
              </a:lnSpc>
              <a:spcBef>
                <a:spcPct val="0"/>
              </a:spcBef>
            </a:pPr>
            <a:r>
              <a:rPr lang="fi-FI" noProof="0"/>
              <a:t>&lt;Yhteystiedot&gt;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2329494" y="-1"/>
            <a:ext cx="2492820" cy="1152000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  <a:endParaRPr kumimoji="0" lang="fi-FI" sz="1333" b="0" i="0" u="none" strike="noStrike" kern="1200" cap="none" spc="0" normalizeH="0" baseline="0" noProof="0">
              <a:ln>
                <a:noFill/>
              </a:ln>
              <a:solidFill>
                <a:srgbClr val="626971"/>
              </a:solidFill>
              <a:effectLst/>
              <a:uLnTx/>
              <a:uFillTx/>
              <a:latin typeface="Helvetica"/>
            </a:endParaRP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Halutessasi sisällyttää esitykseen omat yhteystietosi, käytä tätä lopetusdiaa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0A21592-F620-FA40-BDC6-0E062EF5C2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957657"/>
            <a:ext cx="12192000" cy="26039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B829EF-B0E4-DE40-8B49-3830F69E6D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3" y="221847"/>
            <a:ext cx="4123499" cy="91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041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4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 / piirakka 2 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rt Placeholder 8"/>
          <p:cNvSpPr>
            <a:spLocks noGrp="1"/>
          </p:cNvSpPr>
          <p:nvPr>
            <p:ph type="chart" sz="quarter" idx="13" hasCustomPrompt="1"/>
          </p:nvPr>
        </p:nvSpPr>
        <p:spPr>
          <a:xfrm>
            <a:off x="334434" y="2139925"/>
            <a:ext cx="9842500" cy="4025927"/>
          </a:xfrm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</a:lstStyle>
          <a:p>
            <a:r>
              <a:rPr lang="fi-FI"/>
              <a:t>&lt;Lisää kaavio napsauttamalla&gt;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2329494" y="-1"/>
            <a:ext cx="2492820" cy="2862472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äytä kaavioiden pohjana tätä diatyyppiä, jossa ei ole graafisia elementtejä oikeassa laidass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avioissa tulee noudattaa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RT:n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tunnusvärejä eli PowerPointiin ja Exceliin oletuksiksi asetettuja teemavärejä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aviot pitää toteuttaa näiden mallien mukaisesti, eikä niissä tule käyttää muita muotoiluja (kolmiulotteisuutta, varjostuksia tms.)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7FF3C89-A607-7D4A-8512-AF629C5E874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714FDBC-02FB-A844-9D01-4AA74C44F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F7EB1-19C8-4E4D-BE2A-071F3B2146D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EDA05D-D5B3-424B-A6FF-29649B301EB7}" type="datetime1">
              <a:rPr lang="fi-FI" smtClean="0"/>
              <a:t>21.4.2024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CAD6C3-BCEB-C045-9F57-206E0DC1DB3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7883D0-C605-AD4D-A961-36FCAFEBE7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94838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0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5ECB2C-3B26-4642-A08B-D91DA94758CC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85157992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 / piirakka 1 r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2329494" y="-1"/>
            <a:ext cx="2492820" cy="2862472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äytä kaavioiden pohjana tätä diatyyppiä, jossa ei ole graafisia elementtejä oikeassa laidass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avioissa tulee noudattaa </a:t>
            </a:r>
            <a:r>
              <a:rPr kumimoji="0" lang="fi-FI" sz="1333" b="0" i="0" u="none" strike="noStrike" kern="1200" cap="none" spc="0" normalizeH="0" baseline="0" noProof="0" err="1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RT:n</a:t>
            </a: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 tunnusvärejä eli PowerPointiin ja Exceliin oletuksiksi asetettuja teemavärejä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aviot pitää toteuttaa näiden mallien mukaisesti, eikä niissä tule käyttää muita muotoiluja (kolmiulotteisuutta, varjostuksia tms.)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7FF3C89-A607-7D4A-8512-AF629C5E874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F7EB1-19C8-4E4D-BE2A-071F3B2146D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6114DCB-EDC1-4F7E-B621-083D8E666E1B}" type="datetime1">
              <a:rPr lang="fi-FI" smtClean="0"/>
              <a:t>21.4.2024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CAD6C3-BCEB-C045-9F57-206E0DC1DB3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7883D0-C605-AD4D-A961-36FCAFEBE7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2" name="Chart Placeholder 8">
            <a:extLst>
              <a:ext uri="{FF2B5EF4-FFF2-40B4-BE49-F238E27FC236}">
                <a16:creationId xmlns:a16="http://schemas.microsoft.com/office/drawing/2014/main" id="{443FADB5-8D7B-1544-ABF1-F501A5090CD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34434" y="1701800"/>
            <a:ext cx="9842500" cy="4464051"/>
          </a:xfrm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</a:lstStyle>
          <a:p>
            <a:r>
              <a:rPr lang="fi-FI"/>
              <a:t>&lt;Lisää kaavio napsauttamalla&gt;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27824575-88CF-744A-893E-040A55FE91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01615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08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 / pylväs 2 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2329494" y="-1"/>
            <a:ext cx="2492820" cy="1800000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uotoile kaavioiden luvut siten, että ne ovat kauttaaltaan kokonaislukuja tai yhdellä desimaalill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avion oikeassa laidassa on oltava pystyviiva, kuten tässä mallissa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5A46EC-54A2-DD48-9C5B-F9FDCEDAC4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141CE4A-8B07-1A47-940A-2AF278F4BA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A20EE9-4984-E745-A9C1-3535063FDF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2D59F2D-FDFF-46A6-946F-90091A24172B}" type="datetime1">
              <a:rPr lang="fi-FI" smtClean="0"/>
              <a:t>21.4.2024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D7E9C2-8C38-664E-BFD2-3EE559B781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563F13-EF56-774B-BDD4-CAEE057CA3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8" name="Chart Placeholder 8">
            <a:extLst>
              <a:ext uri="{FF2B5EF4-FFF2-40B4-BE49-F238E27FC236}">
                <a16:creationId xmlns:a16="http://schemas.microsoft.com/office/drawing/2014/main" id="{DE4CEA6B-3520-9942-9EDF-6D6BD06590AE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34434" y="2139925"/>
            <a:ext cx="9842500" cy="4025927"/>
          </a:xfrm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</a:lstStyle>
          <a:p>
            <a:r>
              <a:rPr lang="fi-FI"/>
              <a:t>&lt;Lisää kaavio napsauttamalla&gt;</a:t>
            </a:r>
          </a:p>
        </p:txBody>
      </p:sp>
    </p:spTree>
    <p:extLst>
      <p:ext uri="{BB962C8B-B14F-4D97-AF65-F5344CB8AC3E}">
        <p14:creationId xmlns:p14="http://schemas.microsoft.com/office/powerpoint/2010/main" val="191418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08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 / pylväs 1 r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2329494" y="-1"/>
            <a:ext cx="2492820" cy="1800000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33" b="1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Ohje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Muotoile kaavioiden luvut siten, että ne ovat kauttaaltaan kokonaislukuja tai yhdellä desimaalilla. </a:t>
            </a:r>
          </a:p>
          <a:p>
            <a:pPr marL="228571" marR="0" lvl="0" indent="-228571" algn="l" defTabSz="121904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333" b="0" i="0" u="none" strike="noStrike" kern="1200" cap="none" spc="0" normalizeH="0" baseline="0" noProof="0">
                <a:ln>
                  <a:noFill/>
                </a:ln>
                <a:solidFill>
                  <a:srgbClr val="626971"/>
                </a:solidFill>
                <a:effectLst/>
                <a:uLnTx/>
                <a:uFillTx/>
                <a:latin typeface="Helvetica"/>
              </a:rPr>
              <a:t>Kaavion oikeassa laidassa on oltava pystyviiva, kuten tässä mallissa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5A46EC-54A2-DD48-9C5B-F9FDCEDAC4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A20EE9-4984-E745-A9C1-3535063FDF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8599111-7596-421B-80BD-A7CC6F06E49E}" type="datetime1">
              <a:rPr lang="fi-FI" smtClean="0"/>
              <a:t>21.4.2024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D7E9C2-8C38-664E-BFD2-3EE559B781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563F13-EF56-774B-BDD4-CAEE057CA3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282672CD-FE39-7649-8E9C-5BF2B2D09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2" name="Chart Placeholder 8">
            <a:extLst>
              <a:ext uri="{FF2B5EF4-FFF2-40B4-BE49-F238E27FC236}">
                <a16:creationId xmlns:a16="http://schemas.microsoft.com/office/drawing/2014/main" id="{50C1B81D-3DF2-2E40-B5FB-BED620035996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34434" y="1701800"/>
            <a:ext cx="9842500" cy="4464051"/>
          </a:xfrm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</a:lstStyle>
          <a:p>
            <a:r>
              <a:rPr lang="fi-FI"/>
              <a:t>&lt;Lisää kaavio napsauttamalla&gt;</a:t>
            </a:r>
          </a:p>
        </p:txBody>
      </p:sp>
    </p:spTree>
    <p:extLst>
      <p:ext uri="{BB962C8B-B14F-4D97-AF65-F5344CB8AC3E}">
        <p14:creationId xmlns:p14="http://schemas.microsoft.com/office/powerpoint/2010/main" val="3202052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08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 / viiva 2 rivi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0BFE84D-6738-A347-B612-F243DE293E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48DEF00-551E-DB49-BCCA-3B0749E2CC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910E90-2A5F-9B4F-8EE2-F87DB5FF5C4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74A6118-1BBD-409C-B737-D0BC86FA9711}" type="datetime1">
              <a:rPr lang="fi-FI" smtClean="0"/>
              <a:t>21.4.2024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C880F4-273A-0349-BB79-20B08C4911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AAD4D7-7A67-6340-BB9F-5E370982280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Chart Placeholder 8">
            <a:extLst>
              <a:ext uri="{FF2B5EF4-FFF2-40B4-BE49-F238E27FC236}">
                <a16:creationId xmlns:a16="http://schemas.microsoft.com/office/drawing/2014/main" id="{2E0A93A9-92B4-0D46-9BBC-3E91F4652724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34434" y="2139925"/>
            <a:ext cx="9842500" cy="4025927"/>
          </a:xfrm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</a:lstStyle>
          <a:p>
            <a:r>
              <a:rPr lang="fi-FI"/>
              <a:t>&lt;Lisää kaavio napsauttamalla&gt;</a:t>
            </a:r>
          </a:p>
        </p:txBody>
      </p:sp>
    </p:spTree>
    <p:extLst>
      <p:ext uri="{BB962C8B-B14F-4D97-AF65-F5344CB8AC3E}">
        <p14:creationId xmlns:p14="http://schemas.microsoft.com/office/powerpoint/2010/main" val="1879165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08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 / viiva 1 ri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0BFE84D-6738-A347-B612-F243DE293E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16694" y="0"/>
            <a:ext cx="475307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910E90-2A5F-9B4F-8EE2-F87DB5FF5C4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09E6A67-140D-48A8-B42C-D4D73943EC38}" type="datetime1">
              <a:rPr lang="fi-FI" smtClean="0"/>
              <a:t>21.4.2024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C880F4-273A-0349-BB79-20B08C4911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AAD4D7-7A67-6340-BB9F-5E370982280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FFAC8EED-3B66-1B42-9D49-48896DC22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0" name="Chart Placeholder 8">
            <a:extLst>
              <a:ext uri="{FF2B5EF4-FFF2-40B4-BE49-F238E27FC236}">
                <a16:creationId xmlns:a16="http://schemas.microsoft.com/office/drawing/2014/main" id="{F328A8A9-9E4C-8147-835C-9E55351F1D4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334434" y="1701800"/>
            <a:ext cx="9842500" cy="4464051"/>
          </a:xfrm>
        </p:spPr>
        <p:txBody>
          <a:bodyPr>
            <a:normAutofit/>
          </a:bodyPr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</a:lstStyle>
          <a:p>
            <a:r>
              <a:rPr lang="fi-FI"/>
              <a:t>&lt;Lisää kaavio napsauttamalla&gt;</a:t>
            </a:r>
          </a:p>
        </p:txBody>
      </p:sp>
    </p:spTree>
    <p:extLst>
      <p:ext uri="{BB962C8B-B14F-4D97-AF65-F5344CB8AC3E}">
        <p14:creationId xmlns:p14="http://schemas.microsoft.com/office/powerpoint/2010/main" val="1613809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08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ei elementtiä 1 rivi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7BBB79-1611-CD46-9712-72A2C535B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A6F52-2373-4B9C-A650-990851E62AB4}" type="datetime1">
              <a:rPr lang="fi-FI" smtClean="0"/>
              <a:t>21.4.2024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A55B77-4625-6845-BDB1-0288D80EA3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30BEF5-261C-9F43-9C78-7D03DEDEC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6B6A1BD-8207-2D44-A45A-D2B91F71EE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9"/>
            <a:ext cx="9842500" cy="902757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278AEACD-71A2-2A41-867C-99C0587FC0C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34434" y="1701801"/>
            <a:ext cx="9842500" cy="446404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674247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08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_2_sisältöpalstaa 2 riviä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E5D7BB-F21E-F84A-A59C-0FEB26DAA6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B647757-D127-444B-AF7C-AAD20CF5A54C}" type="datetime1">
              <a:rPr lang="fi-FI" smtClean="0"/>
              <a:t>21.4.2024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156C0E-EE33-9041-BBD5-EC2CC146AE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146A42-79B7-8949-87AB-8CFEC226B5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451ADC-3BA1-FA45-A410-75230DEF1E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1143" y="365126"/>
            <a:ext cx="9845793" cy="1336673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</a:t>
            </a:r>
            <a:br>
              <a:rPr lang="fi-FI" noProof="0"/>
            </a:br>
            <a:r>
              <a:rPr lang="fi-FI" noProof="0"/>
              <a:t>kahdelle riville&gt;</a:t>
            </a:r>
            <a:endParaRPr lang="fi-FI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515DAC1-6750-6D4C-B407-2BAA1F94BE2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8668" y="2133602"/>
            <a:ext cx="4774832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895B9F7E-7414-E145-A9DE-987A1564B51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412919" y="2133602"/>
            <a:ext cx="4764015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63423312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_2_sisältöpalstaa 1 rivi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E5D7BB-F21E-F84A-A59C-0FEB26DAA6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EFAE18-8F6E-4D4D-AAA3-09C937F83C9E}" type="datetime1">
              <a:rPr lang="fi-FI" smtClean="0"/>
              <a:t>21.4.2024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156C0E-EE33-9041-BBD5-EC2CC146AE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 dirty="0"/>
              <a:t>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146A42-79B7-8949-87AB-8CFEC226B5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3DB15D82-F2D8-534F-9351-387404A1A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4" y="365128"/>
            <a:ext cx="9842500" cy="902759"/>
          </a:xfrm>
        </p:spPr>
        <p:txBody>
          <a:bodyPr/>
          <a:lstStyle>
            <a:lvl1pPr>
              <a:defRPr/>
            </a:lvl1pPr>
          </a:lstStyle>
          <a:p>
            <a:r>
              <a:rPr lang="fi-FI" noProof="0"/>
              <a:t>&lt;Lisää otsikko&gt;</a:t>
            </a:r>
            <a:endParaRPr lang="fi-FI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A9FA7D81-E7A9-3845-93C4-96725698555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4435" y="1701800"/>
            <a:ext cx="4771540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5C5A8EB1-3CF4-0443-83C9-95FBCDEE1E6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405394" y="1701800"/>
            <a:ext cx="4771540" cy="44640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7113586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057E98F-40E8-4F21-A913-DE2AA7705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7DE294BF-8183-4D94-9BBA-9558FBD289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F79358C-582E-48C0-A8B5-0DA9985E96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152D7EBA-F2B9-4030-B7C5-D304DD787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AC6E4-5AAC-47E6-BBBE-003DA04C1697}" type="datetimeFigureOut">
              <a:rPr lang="fi-FI" smtClean="0"/>
              <a:t>21.4.2024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B455F81A-3623-4773-BCEF-03444D2BC6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9A9E05DE-F060-4CD1-918D-D64DC3A62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DAA980-6C9C-4E89-BBD4-7982CDBD5E96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324348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aavio / piira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811" y="325371"/>
            <a:ext cx="11222381" cy="1260000"/>
          </a:xfrm>
        </p:spPr>
        <p:txBody>
          <a:bodyPr>
            <a:normAutofit/>
          </a:bodyPr>
          <a:lstStyle>
            <a:lvl1pPr algn="l">
              <a:lnSpc>
                <a:spcPts val="3600"/>
              </a:lnSpc>
              <a:defRPr sz="3200" b="1" baseline="0"/>
            </a:lvl1pPr>
          </a:lstStyle>
          <a:p>
            <a:r>
              <a:rPr lang="fi-FI" noProof="0"/>
              <a:t>&lt;Lisää otsikko&gt;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 hasCustomPrompt="1"/>
          </p:nvPr>
        </p:nvSpPr>
        <p:spPr>
          <a:xfrm>
            <a:off x="484811" y="1616904"/>
            <a:ext cx="11222381" cy="43524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fi-FI"/>
              <a:t>&lt;Lisää kaavio napsauttamalla&gt;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87469" y="6290094"/>
            <a:ext cx="1264577" cy="365125"/>
          </a:xfrm>
        </p:spPr>
        <p:txBody>
          <a:bodyPr/>
          <a:lstStyle>
            <a:lvl1pPr>
              <a:defRPr sz="1200" b="1"/>
            </a:lvl1pPr>
          </a:lstStyle>
          <a:p>
            <a:fld id="{5B62B050-43DD-438E-8676-530F68893570}" type="datetime1">
              <a:rPr lang="fi-FI" smtClean="0">
                <a:solidFill>
                  <a:srgbClr val="002565"/>
                </a:solidFill>
              </a:rPr>
              <a:t>21.4.2024</a:t>
            </a:fld>
            <a:endParaRPr lang="fi-FI">
              <a:solidFill>
                <a:srgbClr val="002565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2481" y="6290094"/>
            <a:ext cx="8880000" cy="365125"/>
          </a:xfrm>
        </p:spPr>
        <p:txBody>
          <a:bodyPr/>
          <a:lstStyle>
            <a:lvl1pPr algn="l">
              <a:defRPr sz="1200" b="1"/>
            </a:lvl1pPr>
          </a:lstStyle>
          <a:p>
            <a:r>
              <a:rPr lang="fi-FI" dirty="0">
                <a:solidFill>
                  <a:srgbClr val="002565"/>
                </a:solidFill>
              </a:rPr>
              <a:t>Rakennusteollisuus RT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2507" y="6290094"/>
            <a:ext cx="504687" cy="365125"/>
          </a:xfrm>
        </p:spPr>
        <p:txBody>
          <a:bodyPr/>
          <a:lstStyle>
            <a:lvl1pPr>
              <a:defRPr sz="1200" b="1"/>
            </a:lvl1pPr>
          </a:lstStyle>
          <a:p>
            <a:fld id="{1F4D50CA-F9F4-4F82-9F28-967629681EF9}" type="slidenum">
              <a:rPr lang="fi-FI" smtClean="0">
                <a:solidFill>
                  <a:srgbClr val="002565"/>
                </a:solidFill>
              </a:rPr>
              <a:pPr/>
              <a:t>‹#›</a:t>
            </a:fld>
            <a:endParaRPr lang="fi-FI">
              <a:solidFill>
                <a:srgbClr val="002565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2329494" y="-1"/>
            <a:ext cx="2492820" cy="2862472"/>
          </a:xfrm>
          <a:prstGeom prst="rect">
            <a:avLst/>
          </a:prstGeom>
          <a:noFill/>
          <a:ln w="9525" cap="flat" cmpd="sng" algn="ctr">
            <a:solidFill>
              <a:srgbClr val="626971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t"/>
          <a:lstStyle>
            <a:defPPr>
              <a:defRPr lang="fi-FI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  <a:defRPr/>
            </a:pPr>
            <a:r>
              <a:rPr lang="fi-FI" sz="1000" b="1">
                <a:solidFill>
                  <a:srgbClr val="626971"/>
                </a:solidFill>
                <a:latin typeface="Helvetica"/>
              </a:rPr>
              <a:t>Ohje</a:t>
            </a:r>
          </a:p>
          <a:p>
            <a:pPr marL="171429" indent="-171429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fi-FI" sz="1000">
                <a:solidFill>
                  <a:srgbClr val="626971"/>
                </a:solidFill>
                <a:latin typeface="Helvetica"/>
              </a:rPr>
              <a:t>Käytä kaavioiden pohjana tätä diatyyppiä, jossa ei ole graafisia elementtejä oikeassa laidassa. </a:t>
            </a:r>
          </a:p>
          <a:p>
            <a:pPr marL="171429" indent="-171429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fi-FI" sz="1000">
                <a:solidFill>
                  <a:srgbClr val="626971"/>
                </a:solidFill>
                <a:latin typeface="Helvetica"/>
              </a:rPr>
              <a:t>Kaavioissa tulee noudattaa RT:n tunnusvärejä eli PowerPointiin ja Exceliin oletuksiksi asetettuja teemavärejä. </a:t>
            </a:r>
          </a:p>
          <a:p>
            <a:pPr marL="171429" indent="-171429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fi-FI" sz="1000">
                <a:solidFill>
                  <a:srgbClr val="626971"/>
                </a:solidFill>
                <a:latin typeface="Helvetica"/>
              </a:rPr>
              <a:t>Kaaviot pitää toteuttaa näiden mallien mukaisesti, eikä niissä tule käyttää muita muotoiluja (kolmiulotteisuutta, varjostuksia tms.).</a:t>
            </a:r>
          </a:p>
        </p:txBody>
      </p:sp>
    </p:spTree>
    <p:extLst>
      <p:ext uri="{BB962C8B-B14F-4D97-AF65-F5344CB8AC3E}">
        <p14:creationId xmlns:p14="http://schemas.microsoft.com/office/powerpoint/2010/main" val="372343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0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9" Type="http://schemas.openxmlformats.org/officeDocument/2006/relationships/slideLayout" Target="../slideLayouts/slideLayout92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34" Type="http://schemas.openxmlformats.org/officeDocument/2006/relationships/slideLayout" Target="../slideLayouts/slideLayout87.xml"/><Relationship Id="rId42" Type="http://schemas.openxmlformats.org/officeDocument/2006/relationships/slideLayout" Target="../slideLayouts/slideLayout95.xml"/><Relationship Id="rId47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slideLayout" Target="../slideLayouts/slideLayout91.xml"/><Relationship Id="rId46" Type="http://schemas.openxmlformats.org/officeDocument/2006/relationships/slideLayout" Target="../slideLayouts/slideLayout99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41" Type="http://schemas.openxmlformats.org/officeDocument/2006/relationships/slideLayout" Target="../slideLayouts/slideLayout94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slideLayout" Target="../slideLayouts/slideLayout90.xml"/><Relationship Id="rId40" Type="http://schemas.openxmlformats.org/officeDocument/2006/relationships/slideLayout" Target="../slideLayouts/slideLayout93.xml"/><Relationship Id="rId45" Type="http://schemas.openxmlformats.org/officeDocument/2006/relationships/slideLayout" Target="../slideLayouts/slideLayout98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slideLayout" Target="../slideLayouts/slideLayout89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4" Type="http://schemas.openxmlformats.org/officeDocument/2006/relationships/slideLayout" Target="../slideLayouts/slideLayout97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Relationship Id="rId43" Type="http://schemas.openxmlformats.org/officeDocument/2006/relationships/slideLayout" Target="../slideLayouts/slideLayout96.xml"/><Relationship Id="rId48" Type="http://schemas.openxmlformats.org/officeDocument/2006/relationships/slideLayout" Target="../slideLayouts/slideLayout101.xml"/><Relationship Id="rId8" Type="http://schemas.openxmlformats.org/officeDocument/2006/relationships/slideLayout" Target="../slideLayouts/slideLayout6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26" Type="http://schemas.openxmlformats.org/officeDocument/2006/relationships/slideLayout" Target="../slideLayouts/slideLayout127.xml"/><Relationship Id="rId39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22.xml"/><Relationship Id="rId34" Type="http://schemas.openxmlformats.org/officeDocument/2006/relationships/slideLayout" Target="../slideLayouts/slideLayout135.xml"/><Relationship Id="rId42" Type="http://schemas.openxmlformats.org/officeDocument/2006/relationships/slideLayout" Target="../slideLayouts/slideLayout143.xml"/><Relationship Id="rId47" Type="http://schemas.openxmlformats.org/officeDocument/2006/relationships/slideLayout" Target="../slideLayouts/slideLayout148.xml"/><Relationship Id="rId50" Type="http://schemas.openxmlformats.org/officeDocument/2006/relationships/slideLayout" Target="../slideLayouts/slideLayout151.xml"/><Relationship Id="rId55" Type="http://schemas.openxmlformats.org/officeDocument/2006/relationships/slideLayout" Target="../slideLayouts/slideLayout156.xml"/><Relationship Id="rId6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slideLayout" Target="../slideLayouts/slideLayout121.xml"/><Relationship Id="rId29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42.xml"/><Relationship Id="rId54" Type="http://schemas.openxmlformats.org/officeDocument/2006/relationships/slideLayout" Target="../slideLayouts/slideLayout155.xml"/><Relationship Id="rId6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25.xml"/><Relationship Id="rId32" Type="http://schemas.openxmlformats.org/officeDocument/2006/relationships/slideLayout" Target="../slideLayouts/slideLayout133.xml"/><Relationship Id="rId37" Type="http://schemas.openxmlformats.org/officeDocument/2006/relationships/slideLayout" Target="../slideLayouts/slideLayout138.xml"/><Relationship Id="rId40" Type="http://schemas.openxmlformats.org/officeDocument/2006/relationships/slideLayout" Target="../slideLayouts/slideLayout141.xml"/><Relationship Id="rId45" Type="http://schemas.openxmlformats.org/officeDocument/2006/relationships/slideLayout" Target="../slideLayouts/slideLayout146.xml"/><Relationship Id="rId53" Type="http://schemas.openxmlformats.org/officeDocument/2006/relationships/slideLayout" Target="../slideLayouts/slideLayout154.xml"/><Relationship Id="rId58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24.xml"/><Relationship Id="rId28" Type="http://schemas.openxmlformats.org/officeDocument/2006/relationships/slideLayout" Target="../slideLayouts/slideLayout129.xml"/><Relationship Id="rId36" Type="http://schemas.openxmlformats.org/officeDocument/2006/relationships/slideLayout" Target="../slideLayouts/slideLayout137.xml"/><Relationship Id="rId49" Type="http://schemas.openxmlformats.org/officeDocument/2006/relationships/slideLayout" Target="../slideLayouts/slideLayout150.xml"/><Relationship Id="rId57" Type="http://schemas.openxmlformats.org/officeDocument/2006/relationships/slideLayout" Target="../slideLayouts/slideLayout158.xml"/><Relationship Id="rId61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11.xml"/><Relationship Id="rId19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32.xml"/><Relationship Id="rId44" Type="http://schemas.openxmlformats.org/officeDocument/2006/relationships/slideLayout" Target="../slideLayouts/slideLayout145.xml"/><Relationship Id="rId52" Type="http://schemas.openxmlformats.org/officeDocument/2006/relationships/slideLayout" Target="../slideLayouts/slideLayout153.xml"/><Relationship Id="rId60" Type="http://schemas.openxmlformats.org/officeDocument/2006/relationships/slideLayout" Target="../slideLayouts/slideLayout161.xml"/><Relationship Id="rId65" Type="http://schemas.openxmlformats.org/officeDocument/2006/relationships/image" Target="../media/image1.png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23.xml"/><Relationship Id="rId27" Type="http://schemas.openxmlformats.org/officeDocument/2006/relationships/slideLayout" Target="../slideLayouts/slideLayout128.xml"/><Relationship Id="rId30" Type="http://schemas.openxmlformats.org/officeDocument/2006/relationships/slideLayout" Target="../slideLayouts/slideLayout131.xml"/><Relationship Id="rId35" Type="http://schemas.openxmlformats.org/officeDocument/2006/relationships/slideLayout" Target="../slideLayouts/slideLayout136.xml"/><Relationship Id="rId43" Type="http://schemas.openxmlformats.org/officeDocument/2006/relationships/slideLayout" Target="../slideLayouts/slideLayout144.xml"/><Relationship Id="rId48" Type="http://schemas.openxmlformats.org/officeDocument/2006/relationships/slideLayout" Target="../slideLayouts/slideLayout149.xml"/><Relationship Id="rId56" Type="http://schemas.openxmlformats.org/officeDocument/2006/relationships/slideLayout" Target="../slideLayouts/slideLayout157.xml"/><Relationship Id="rId64" Type="http://schemas.openxmlformats.org/officeDocument/2006/relationships/theme" Target="../theme/theme3.xml"/><Relationship Id="rId8" Type="http://schemas.openxmlformats.org/officeDocument/2006/relationships/slideLayout" Target="../slideLayouts/slideLayout109.xml"/><Relationship Id="rId51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34.xml"/><Relationship Id="rId38" Type="http://schemas.openxmlformats.org/officeDocument/2006/relationships/slideLayout" Target="../slideLayouts/slideLayout139.xml"/><Relationship Id="rId46" Type="http://schemas.openxmlformats.org/officeDocument/2006/relationships/slideLayout" Target="../slideLayouts/slideLayout147.xml"/><Relationship Id="rId59" Type="http://schemas.openxmlformats.org/officeDocument/2006/relationships/slideLayout" Target="../slideLayouts/slideLayout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3F606E-928C-A1F9-8031-179CA03A3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6"/>
            <a:ext cx="11376026" cy="10108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24343F-94E2-0032-C904-C75E566C8F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628776"/>
            <a:ext cx="11376025" cy="44640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CF1F63-EAB0-D155-D368-DB83454D33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9416" y="6381328"/>
            <a:ext cx="1224136" cy="1432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5C6F4B18-CB97-43DC-B5BF-9C12B500CD96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1D72B2-0BA5-C3BE-860A-FF93393EC1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63552" y="6381328"/>
            <a:ext cx="8928992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D84F36-1B4E-8A5C-9166-BF2B0030F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7988" y="6381328"/>
            <a:ext cx="431428" cy="1432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  <a:latin typeface="+mj-lt"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45D2EBA9-1BB0-2806-BE95-22E9D2E52F2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fi-FI" noProof="0">
              <a:solidFill>
                <a:schemeClr val="tx1"/>
              </a:solidFill>
            </a:endParaRPr>
          </a:p>
        </p:txBody>
      </p:sp>
      <p:sp>
        <p:nvSpPr>
          <p:cNvPr id="23" name="(c)" hidden="1">
            <a:extLst>
              <a:ext uri="{FF2B5EF4-FFF2-40B4-BE49-F238E27FC236}">
                <a16:creationId xmlns:a16="http://schemas.microsoft.com/office/drawing/2014/main" id="{BE74CF64-92D2-11A4-5F0E-9DB01C5D9C1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020180" y="6891795"/>
            <a:ext cx="165110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  <a:latin typeface="+mn-lt"/>
              </a:rPr>
              <a:t> RT</a:t>
            </a:r>
            <a:endParaRPr lang="en-GB" sz="20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4" name="(logo)" descr="Z:\GRW (grow)\logot\copyright_grow.png" hidden="1">
            <a:extLst>
              <a:ext uri="{FF2B5EF4-FFF2-40B4-BE49-F238E27FC236}">
                <a16:creationId xmlns:a16="http://schemas.microsoft.com/office/drawing/2014/main" id="{FAEA7254-AEB8-7FA6-6B13-3AB5DF3FA76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5094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2" r:id="rId51"/>
    <p:sldLayoutId id="2147483830" r:id="rId52"/>
    <p:sldLayoutId id="2147483832" r:id="rId5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90600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025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066925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4193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813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43250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1026">
          <p15:clr>
            <a:srgbClr val="F26B43"/>
          </p15:clr>
        </p15:guide>
        <p15:guide id="6" orient="horz" pos="845">
          <p15:clr>
            <a:srgbClr val="F26B43"/>
          </p15:clr>
        </p15:guide>
        <p15:guide id="8" orient="horz" pos="3838">
          <p15:clr>
            <a:srgbClr val="F26B43"/>
          </p15:clr>
        </p15:guide>
        <p15:guide id="10" orient="horz" pos="21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434" y="365129"/>
            <a:ext cx="9842500" cy="1335733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434" y="2133602"/>
            <a:ext cx="9842500" cy="4032251"/>
          </a:xfrm>
          <a:prstGeom prst="rect">
            <a:avLst/>
          </a:prstGeom>
        </p:spPr>
        <p:txBody>
          <a:bodyPr vert="horz" lIns="180000" tIns="45720" rIns="91440" bIns="45720" rtlCol="0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52330" y="6362701"/>
            <a:ext cx="2935761" cy="1397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fld id="{5777A30A-17C2-4B3A-A64F-F970E9DB892D}" type="datetime1">
              <a:rPr lang="fi-FI" smtClean="0"/>
              <a:t>21.4.2024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4436" y="6362701"/>
            <a:ext cx="4317893" cy="13970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 b="1">
                <a:solidFill>
                  <a:schemeClr val="accent2"/>
                </a:solidFill>
              </a:defRPr>
            </a:lvl1pPr>
          </a:lstStyle>
          <a:p>
            <a:r>
              <a:rPr lang="fi-FI" dirty="0"/>
              <a:t>Rakennusteollisuus R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88090" y="6362699"/>
            <a:ext cx="2588844" cy="139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1F4D50CA-F9F4-4F82-9F28-967629681EF9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4123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38" r:id="rId25"/>
    <p:sldLayoutId id="2147483739" r:id="rId26"/>
    <p:sldLayoutId id="2147483740" r:id="rId27"/>
    <p:sldLayoutId id="2147483741" r:id="rId28"/>
    <p:sldLayoutId id="2147483742" r:id="rId29"/>
    <p:sldLayoutId id="2147483743" r:id="rId30"/>
    <p:sldLayoutId id="2147483744" r:id="rId31"/>
    <p:sldLayoutId id="2147483745" r:id="rId32"/>
    <p:sldLayoutId id="2147483746" r:id="rId33"/>
    <p:sldLayoutId id="2147483747" r:id="rId34"/>
    <p:sldLayoutId id="2147483748" r:id="rId35"/>
    <p:sldLayoutId id="2147483749" r:id="rId36"/>
    <p:sldLayoutId id="2147483750" r:id="rId37"/>
    <p:sldLayoutId id="2147483751" r:id="rId38"/>
    <p:sldLayoutId id="2147483752" r:id="rId39"/>
    <p:sldLayoutId id="2147483753" r:id="rId40"/>
    <p:sldLayoutId id="2147483754" r:id="rId41"/>
    <p:sldLayoutId id="2147483755" r:id="rId42"/>
    <p:sldLayoutId id="2147483756" r:id="rId43"/>
    <p:sldLayoutId id="2147483757" r:id="rId44"/>
    <p:sldLayoutId id="2147483759" r:id="rId45"/>
    <p:sldLayoutId id="2147483760" r:id="rId46"/>
    <p:sldLayoutId id="2147483761" r:id="rId47"/>
    <p:sldLayoutId id="2147483762" r:id="rId48"/>
  </p:sldLayoutIdLst>
  <p:hf hdr="0"/>
  <p:txStyles>
    <p:titleStyle>
      <a:lvl1pPr algn="l" defTabSz="914286" rtl="0" eaLnBrk="1" latinLnBrk="0" hangingPunct="1">
        <a:lnSpc>
          <a:spcPct val="100000"/>
        </a:lnSpc>
        <a:spcBef>
          <a:spcPct val="0"/>
        </a:spcBef>
        <a:buNone/>
        <a:defRPr sz="4267" b="1" kern="1200">
          <a:solidFill>
            <a:schemeClr val="accent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571" indent="-228571" algn="l" defTabSz="91428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714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2857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000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143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286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29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1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14" indent="-228571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6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9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1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4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7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85">
          <p15:clr>
            <a:srgbClr val="F26B43"/>
          </p15:clr>
        </p15:guide>
        <p15:guide id="4" pos="4998">
          <p15:clr>
            <a:srgbClr val="F26B43"/>
          </p15:clr>
        </p15:guide>
        <p15:guide id="5" pos="158">
          <p15:clr>
            <a:srgbClr val="F26B43"/>
          </p15:clr>
        </p15:guide>
        <p15:guide id="6" orient="horz" pos="169">
          <p15:clr>
            <a:srgbClr val="F26B43"/>
          </p15:clr>
        </p15:guide>
        <p15:guide id="7" orient="horz" pos="804">
          <p15:clr>
            <a:srgbClr val="F26B43"/>
          </p15:clr>
        </p15:guide>
        <p15:guide id="8" orient="horz" pos="2913">
          <p15:clr>
            <a:srgbClr val="F26B43"/>
          </p15:clr>
        </p15:guide>
        <p15:guide id="9" orient="horz" pos="1008">
          <p15:clr>
            <a:srgbClr val="F26B43"/>
          </p15:clr>
        </p15:guide>
        <p15:guide id="10" orient="horz" pos="3003">
          <p15:clr>
            <a:srgbClr val="F26B43"/>
          </p15:clr>
        </p15:guide>
        <p15:guide id="11" orient="horz" pos="3072">
          <p15:clr>
            <a:srgbClr val="F26B43"/>
          </p15:clr>
        </p15:guide>
        <p15:guide id="12" pos="4808">
          <p15:clr>
            <a:srgbClr val="F26B43"/>
          </p15:clr>
        </p15:guide>
        <p15:guide id="13" pos="2767">
          <p15:clr>
            <a:srgbClr val="F26B43"/>
          </p15:clr>
        </p15:guide>
        <p15:guide id="14" orient="horz" pos="5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3F606E-928C-A1F9-8031-179CA03A3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6"/>
            <a:ext cx="11376026" cy="10108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24343F-94E2-0032-C904-C75E566C8F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628776"/>
            <a:ext cx="11376025" cy="44640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CF1F63-EAB0-D155-D368-DB83454D33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9416" y="6381328"/>
            <a:ext cx="1224136" cy="1432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23.1.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1D72B2-0BA5-C3BE-860A-FF93393EC1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63552" y="6381328"/>
            <a:ext cx="8928992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D84F36-1B4E-8A5C-9166-BF2B0030F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7988" y="6381328"/>
            <a:ext cx="431428" cy="1432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  <a:latin typeface="+mj-lt"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45D2EBA9-1BB0-2806-BE95-22E9D2E52F2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fi-FI" noProof="0">
              <a:solidFill>
                <a:schemeClr val="tx1"/>
              </a:solidFill>
            </a:endParaRPr>
          </a:p>
        </p:txBody>
      </p:sp>
      <p:sp>
        <p:nvSpPr>
          <p:cNvPr id="23" name="(c)" hidden="1">
            <a:extLst>
              <a:ext uri="{FF2B5EF4-FFF2-40B4-BE49-F238E27FC236}">
                <a16:creationId xmlns:a16="http://schemas.microsoft.com/office/drawing/2014/main" id="{BE74CF64-92D2-11A4-5F0E-9DB01C5D9C1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020180" y="6891795"/>
            <a:ext cx="165110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>
                <a:solidFill>
                  <a:schemeClr val="bg1"/>
                </a:solidFill>
                <a:latin typeface="+mn-lt"/>
              </a:rPr>
              <a:t> RT</a:t>
            </a:r>
            <a:endParaRPr lang="en-GB" sz="20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4" name="(logo)" descr="Z:\GRW (grow)\logot\copyright_grow.png" hidden="1">
            <a:extLst>
              <a:ext uri="{FF2B5EF4-FFF2-40B4-BE49-F238E27FC236}">
                <a16:creationId xmlns:a16="http://schemas.microsoft.com/office/drawing/2014/main" id="{FAEA7254-AEB8-7FA6-6B13-3AB5DF3FA76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9435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  <p:sldLayoutId id="2147483789" r:id="rId26"/>
    <p:sldLayoutId id="2147483790" r:id="rId27"/>
    <p:sldLayoutId id="2147483791" r:id="rId28"/>
    <p:sldLayoutId id="2147483792" r:id="rId29"/>
    <p:sldLayoutId id="2147483793" r:id="rId30"/>
    <p:sldLayoutId id="2147483794" r:id="rId31"/>
    <p:sldLayoutId id="2147483795" r:id="rId32"/>
    <p:sldLayoutId id="2147483796" r:id="rId33"/>
    <p:sldLayoutId id="2147483797" r:id="rId34"/>
    <p:sldLayoutId id="2147483798" r:id="rId35"/>
    <p:sldLayoutId id="2147483799" r:id="rId36"/>
    <p:sldLayoutId id="2147483800" r:id="rId37"/>
    <p:sldLayoutId id="2147483801" r:id="rId38"/>
    <p:sldLayoutId id="2147483802" r:id="rId39"/>
    <p:sldLayoutId id="2147483803" r:id="rId40"/>
    <p:sldLayoutId id="2147483804" r:id="rId41"/>
    <p:sldLayoutId id="2147483805" r:id="rId42"/>
    <p:sldLayoutId id="2147483806" r:id="rId43"/>
    <p:sldLayoutId id="2147483807" r:id="rId44"/>
    <p:sldLayoutId id="2147483808" r:id="rId45"/>
    <p:sldLayoutId id="2147483809" r:id="rId46"/>
    <p:sldLayoutId id="2147483810" r:id="rId47"/>
    <p:sldLayoutId id="2147483811" r:id="rId48"/>
    <p:sldLayoutId id="2147483812" r:id="rId49"/>
    <p:sldLayoutId id="2147483813" r:id="rId50"/>
    <p:sldLayoutId id="2147483814" r:id="rId51"/>
    <p:sldLayoutId id="2147483815" r:id="rId52"/>
    <p:sldLayoutId id="2147483816" r:id="rId53"/>
    <p:sldLayoutId id="2147483817" r:id="rId54"/>
    <p:sldLayoutId id="2147483819" r:id="rId55"/>
    <p:sldLayoutId id="2147483820" r:id="rId56"/>
    <p:sldLayoutId id="2147483821" r:id="rId57"/>
    <p:sldLayoutId id="2147483822" r:id="rId58"/>
    <p:sldLayoutId id="2147483823" r:id="rId59"/>
    <p:sldLayoutId id="2147483824" r:id="rId60"/>
    <p:sldLayoutId id="2147483825" r:id="rId61"/>
    <p:sldLayoutId id="2147483826" r:id="rId62"/>
    <p:sldLayoutId id="2147483827" r:id="rId6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90600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025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066925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4193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813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43250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1026">
          <p15:clr>
            <a:srgbClr val="F26B43"/>
          </p15:clr>
        </p15:guide>
        <p15:guide id="6" orient="horz" pos="845">
          <p15:clr>
            <a:srgbClr val="F26B43"/>
          </p15:clr>
        </p15:guide>
        <p15:guide id="8" orient="horz" pos="3838">
          <p15:clr>
            <a:srgbClr val="F26B43"/>
          </p15:clr>
        </p15:guide>
        <p15:guide id="10" orient="horz" pos="2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36.png"/><Relationship Id="rId4" Type="http://schemas.openxmlformats.org/officeDocument/2006/relationships/chart" Target="../charts/char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svg"/><Relationship Id="rId18" Type="http://schemas.openxmlformats.org/officeDocument/2006/relationships/chart" Target="../charts/chart15.xml"/><Relationship Id="rId3" Type="http://schemas.openxmlformats.org/officeDocument/2006/relationships/chart" Target="../charts/chart12.xml"/><Relationship Id="rId7" Type="http://schemas.openxmlformats.org/officeDocument/2006/relationships/image" Target="../media/image40.svg"/><Relationship Id="rId12" Type="http://schemas.openxmlformats.org/officeDocument/2006/relationships/image" Target="../media/image45.png"/><Relationship Id="rId17" Type="http://schemas.openxmlformats.org/officeDocument/2006/relationships/chart" Target="../charts/chart14.xml"/><Relationship Id="rId2" Type="http://schemas.openxmlformats.org/officeDocument/2006/relationships/notesSlide" Target="../notesSlides/notesSlide6.xml"/><Relationship Id="rId16" Type="http://schemas.openxmlformats.org/officeDocument/2006/relationships/chart" Target="../charts/chart13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png"/><Relationship Id="rId11" Type="http://schemas.openxmlformats.org/officeDocument/2006/relationships/image" Target="../media/image44.svg"/><Relationship Id="rId5" Type="http://schemas.openxmlformats.org/officeDocument/2006/relationships/image" Target="../media/image38.svg"/><Relationship Id="rId15" Type="http://schemas.openxmlformats.org/officeDocument/2006/relationships/image" Target="../media/image48.sv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svg"/><Relationship Id="rId1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5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52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5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4.xml"/><Relationship Id="rId4" Type="http://schemas.openxmlformats.org/officeDocument/2006/relationships/chart" Target="../charts/char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>
            <a:extLst>
              <a:ext uri="{FF2B5EF4-FFF2-40B4-BE49-F238E27FC236}">
                <a16:creationId xmlns:a16="http://schemas.microsoft.com/office/drawing/2014/main" id="{D9B721B1-3545-A0E0-BB4A-48A1E87CDE3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869"/>
          <a:stretch/>
        </p:blipFill>
        <p:spPr>
          <a:xfrm>
            <a:off x="6305544" y="1271959"/>
            <a:ext cx="5431041" cy="4601147"/>
          </a:xfrm>
          <a:prstGeom prst="rect">
            <a:avLst/>
          </a:prstGeom>
        </p:spPr>
      </p:pic>
      <p:sp>
        <p:nvSpPr>
          <p:cNvPr id="8" name="Otsikko 7">
            <a:extLst>
              <a:ext uri="{FF2B5EF4-FFF2-40B4-BE49-F238E27FC236}">
                <a16:creationId xmlns:a16="http://schemas.microsoft.com/office/drawing/2014/main" id="{6005CD1D-8460-6715-A56B-929B090479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610907"/>
            <a:ext cx="9791700" cy="2304529"/>
          </a:xfrm>
        </p:spPr>
        <p:txBody>
          <a:bodyPr/>
          <a:lstStyle/>
          <a:p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Ratkaisuja vaaditaan lopulta kunnilta ja kaupungeilta </a:t>
            </a:r>
            <a:b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</a:br>
            <a:r>
              <a:rPr lang="fi-FI" sz="3600" dirty="0">
                <a:solidFill>
                  <a:srgbClr val="183858"/>
                </a:solidFill>
                <a:latin typeface="Avenir Next LT Pro Demi"/>
                <a:sym typeface="Wingdings" panose="05000000000000000000" pitchFamily="2" charset="2"/>
              </a:rPr>
              <a:t>Kohtuuhintaisen asumisen ja </a:t>
            </a:r>
            <a:br>
              <a:rPr lang="fi-FI" sz="3600" dirty="0">
                <a:solidFill>
                  <a:srgbClr val="183858"/>
                </a:solidFill>
                <a:latin typeface="Avenir Next LT Pro Demi"/>
                <a:sym typeface="Wingdings" panose="05000000000000000000" pitchFamily="2" charset="2"/>
              </a:rPr>
            </a:br>
            <a:r>
              <a:rPr lang="fi-FI" sz="3600" dirty="0">
                <a:solidFill>
                  <a:srgbClr val="183858"/>
                </a:solidFill>
                <a:latin typeface="Avenir Next LT Pro Demi"/>
                <a:sym typeface="Wingdings" panose="05000000000000000000" pitchFamily="2" charset="2"/>
              </a:rPr>
              <a:t>talouskasvun ura karkaa</a:t>
            </a:r>
            <a:endParaRPr lang="fi-FI" sz="5000" dirty="0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BAA5E701-3425-35AD-337C-459C5B1A9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C9408-919C-4DA3-8E3B-A040EEB6DBAA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C294F99D-5895-101E-A28C-5EFD1A9CC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D7ABE9A4-3EC7-8FB2-9EBC-6305515538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1</a:t>
            </a:fld>
            <a:endParaRPr lang="fi-FI" noProof="0"/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D7A2B23C-0250-585B-3100-5B3F663627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4805921"/>
            <a:ext cx="9793263" cy="288032"/>
          </a:xfrm>
        </p:spPr>
        <p:txBody>
          <a:bodyPr/>
          <a:lstStyle/>
          <a:p>
            <a:pPr marL="0" indent="0">
              <a:buNone/>
            </a:pPr>
            <a:r>
              <a:rPr lang="fi-FI" b="1" dirty="0">
                <a:solidFill>
                  <a:schemeClr val="accent1"/>
                </a:solidFill>
              </a:rPr>
              <a:t>Tampereen </a:t>
            </a:r>
            <a:r>
              <a:rPr lang="fi-FI" b="1">
                <a:solidFill>
                  <a:schemeClr val="accent1"/>
                </a:solidFill>
              </a:rPr>
              <a:t>seudun tonttipäivä 22.4.2024</a:t>
            </a:r>
            <a:endParaRPr lang="fi-FI" b="1" dirty="0">
              <a:solidFill>
                <a:schemeClr val="accent1"/>
              </a:solidFill>
            </a:endParaRPr>
          </a:p>
          <a:p>
            <a:endParaRPr lang="fi-FI" dirty="0"/>
          </a:p>
        </p:txBody>
      </p:sp>
      <p:sp>
        <p:nvSpPr>
          <p:cNvPr id="12" name="Tekstin paikkamerkki 11">
            <a:extLst>
              <a:ext uri="{FF2B5EF4-FFF2-40B4-BE49-F238E27FC236}">
                <a16:creationId xmlns:a16="http://schemas.microsoft.com/office/drawing/2014/main" id="{D8BFDA3F-FFAB-9A2A-A081-13C25577DF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160996"/>
            <a:ext cx="9793263" cy="288032"/>
          </a:xfrm>
        </p:spPr>
        <p:txBody>
          <a:bodyPr/>
          <a:lstStyle/>
          <a:p>
            <a:r>
              <a:rPr lang="fi-FI" dirty="0"/>
              <a:t>Toimitusjohtaja Aleksi Randell </a:t>
            </a:r>
            <a:r>
              <a:rPr lang="fi-FI" dirty="0">
                <a:solidFill>
                  <a:schemeClr val="accent1"/>
                </a:solidFill>
              </a:rPr>
              <a:t> 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629643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6" name="Suorakulmio 2065">
            <a:extLst>
              <a:ext uri="{FF2B5EF4-FFF2-40B4-BE49-F238E27FC236}">
                <a16:creationId xmlns:a16="http://schemas.microsoft.com/office/drawing/2014/main" id="{557E465B-5D19-5CEF-F297-40C506C01C12}"/>
              </a:ext>
            </a:extLst>
          </p:cNvPr>
          <p:cNvSpPr/>
          <p:nvPr/>
        </p:nvSpPr>
        <p:spPr>
          <a:xfrm>
            <a:off x="8183563" y="2218091"/>
            <a:ext cx="3605915" cy="3882552"/>
          </a:xfrm>
          <a:prstGeom prst="rect">
            <a:avLst/>
          </a:prstGeom>
          <a:solidFill>
            <a:srgbClr val="F1F3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graphicFrame>
        <p:nvGraphicFramePr>
          <p:cNvPr id="21" name="Sisällön paikkamerkki 10">
            <a:extLst>
              <a:ext uri="{FF2B5EF4-FFF2-40B4-BE49-F238E27FC236}">
                <a16:creationId xmlns:a16="http://schemas.microsoft.com/office/drawing/2014/main" id="{E2FD8FA6-AF39-1E0B-3891-B9929AF3819B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407988" y="2209800"/>
          <a:ext cx="3598862" cy="388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AD1D452B-F1B1-62CA-A845-59C0C6DE8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Tarve asunnoille ei ole hävinnyt</a:t>
            </a:r>
            <a:br>
              <a:rPr lang="fi-FI"/>
            </a:br>
            <a:r>
              <a:rPr lang="fi-FI" sz="1800">
                <a:solidFill>
                  <a:srgbClr val="183858"/>
                </a:solidFill>
                <a:latin typeface="Avenir Next LT Pro"/>
              </a:rPr>
              <a:t>Kasvukeskuksiin pitää rakentaa uutta, muualla pitää vähintään korjata ja koko Suomi pitää yhdistää logistisesti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68302F7E-74F2-9DCD-EC6B-59A9AA64E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A0A3ED-138B-454C-A969-5502CF465F06}" type="datetime1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4.2024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ABE18FD0-2A70-3EC3-335E-702D8223A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© Rakennusteollisuus RT</a:t>
            </a:r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1E11567D-D4B0-6BB9-920B-8DFF7220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15E2C-5026-0291-967B-D1AA1EB9AEF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06699" y="1489224"/>
            <a:ext cx="3600450" cy="576064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fi-FI">
                <a:solidFill>
                  <a:schemeClr val="bg1"/>
                </a:solidFill>
              </a:rPr>
              <a:t>Kaupungistuminen jatkuu</a:t>
            </a:r>
          </a:p>
          <a:p>
            <a:pPr algn="ctr"/>
            <a:r>
              <a:rPr lang="fi-FI" sz="1400">
                <a:solidFill>
                  <a:schemeClr val="bg1"/>
                </a:solidFill>
                <a:latin typeface="Avenir Next LT Pro"/>
              </a:rPr>
              <a:t>”Asunnoista puolet väärissä paikoissa”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E820EE0A-2D70-35C5-AD63-030ADE7A49A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295131" y="1489224"/>
            <a:ext cx="3600450" cy="576064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fi-FI">
                <a:solidFill>
                  <a:schemeClr val="bg1"/>
                </a:solidFill>
              </a:rPr>
              <a:t>Vakuudet eivät riitä</a:t>
            </a:r>
          </a:p>
          <a:p>
            <a:pPr algn="ctr"/>
            <a:r>
              <a:rPr lang="fi-FI" sz="1400">
                <a:solidFill>
                  <a:schemeClr val="bg1"/>
                </a:solidFill>
                <a:latin typeface="Avenir Next LT Pro"/>
              </a:rPr>
              <a:t>Asuntomarkkinat polarisoituvat</a:t>
            </a:r>
          </a:p>
          <a:p>
            <a:pPr algn="ctr"/>
            <a:endParaRPr lang="fi-FI" sz="1400">
              <a:solidFill>
                <a:schemeClr val="bg1"/>
              </a:solidFill>
              <a:latin typeface="Avenir Next LT Pro"/>
            </a:endParaRPr>
          </a:p>
          <a:p>
            <a:pPr algn="ctr"/>
            <a:endParaRPr lang="fi-FI" sz="1400">
              <a:solidFill>
                <a:schemeClr val="bg1"/>
              </a:solidFill>
              <a:latin typeface="Avenir Next LT Pro"/>
            </a:endParaRP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2BFDCBDA-FBAC-26F6-8A57-366BD23DB651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183563" y="1489224"/>
            <a:ext cx="3600450" cy="576064"/>
          </a:xfrm>
          <a:solidFill>
            <a:schemeClr val="accent1"/>
          </a:solidFill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600 000 asuntoa vuoteen 204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90 prosenttia 9 kasvukeskukseen</a:t>
            </a:r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64911965-D5B1-CB00-1DC0-B9B98C56AEF9}"/>
              </a:ext>
            </a:extLst>
          </p:cNvPr>
          <p:cNvSpPr txBox="1"/>
          <p:nvPr/>
        </p:nvSpPr>
        <p:spPr>
          <a:xfrm>
            <a:off x="1300528" y="3237726"/>
            <a:ext cx="1678665" cy="60016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59 taantuvaa kunta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,2 miljoonaa asunto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,2 miljoonaa asukasta </a:t>
            </a:r>
          </a:p>
        </p:txBody>
      </p:sp>
      <p:graphicFrame>
        <p:nvGraphicFramePr>
          <p:cNvPr id="27" name="Sisällön paikkamerkki 22">
            <a:extLst>
              <a:ext uri="{FF2B5EF4-FFF2-40B4-BE49-F238E27FC236}">
                <a16:creationId xmlns:a16="http://schemas.microsoft.com/office/drawing/2014/main" id="{581B1092-57F6-00D9-B646-C6BCD5D3B8CD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4295775" y="2210273"/>
          <a:ext cx="3600450" cy="3882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31" name="Sisällön paikkamerkki 60">
            <a:extLst>
              <a:ext uri="{FF2B5EF4-FFF2-40B4-BE49-F238E27FC236}">
                <a16:creationId xmlns:a16="http://schemas.microsoft.com/office/drawing/2014/main" id="{0F8176D4-CD16-349A-DB79-D5DDE280A13C}"/>
              </a:ext>
            </a:extLst>
          </p:cNvPr>
          <p:cNvPicPr>
            <a:picLocks noGrp="1"/>
          </p:cNvPicPr>
          <p:nvPr>
            <p:ph sz="half" idx="14"/>
          </p:nvPr>
        </p:nvPicPr>
        <p:blipFill rotWithShape="1">
          <a:blip r:embed="rId5"/>
          <a:srcRect l="9096" b="2103"/>
          <a:stretch/>
        </p:blipFill>
        <p:spPr>
          <a:xfrm>
            <a:off x="8658197" y="2307372"/>
            <a:ext cx="2725587" cy="3709754"/>
          </a:xfrm>
          <a:prstGeom prst="rect">
            <a:avLst/>
          </a:prstGeom>
        </p:spPr>
      </p:pic>
      <p:sp>
        <p:nvSpPr>
          <p:cNvPr id="2048" name="Suorakulmio: Pyöristetyt kulmat 2047">
            <a:extLst>
              <a:ext uri="{FF2B5EF4-FFF2-40B4-BE49-F238E27FC236}">
                <a16:creationId xmlns:a16="http://schemas.microsoft.com/office/drawing/2014/main" id="{CDDBBEAF-2C3B-9780-97C0-37F20902623F}"/>
              </a:ext>
            </a:extLst>
          </p:cNvPr>
          <p:cNvSpPr/>
          <p:nvPr/>
        </p:nvSpPr>
        <p:spPr>
          <a:xfrm>
            <a:off x="9641742" y="5752667"/>
            <a:ext cx="832992" cy="215683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300 000</a:t>
            </a:r>
          </a:p>
        </p:txBody>
      </p:sp>
      <p:sp>
        <p:nvSpPr>
          <p:cNvPr id="2049" name="Suorakulmio: Pyöristetyt kulmat 2048">
            <a:extLst>
              <a:ext uri="{FF2B5EF4-FFF2-40B4-BE49-F238E27FC236}">
                <a16:creationId xmlns:a16="http://schemas.microsoft.com/office/drawing/2014/main" id="{4F1C9592-67EE-50D5-3155-46A2E7E99197}"/>
              </a:ext>
            </a:extLst>
          </p:cNvPr>
          <p:cNvSpPr/>
          <p:nvPr/>
        </p:nvSpPr>
        <p:spPr>
          <a:xfrm>
            <a:off x="8932445" y="5674750"/>
            <a:ext cx="832992" cy="215683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58 000</a:t>
            </a:r>
          </a:p>
        </p:txBody>
      </p:sp>
      <p:sp>
        <p:nvSpPr>
          <p:cNvPr id="2051" name="Suorakulmio: Pyöristetyt kulmat 2050">
            <a:extLst>
              <a:ext uri="{FF2B5EF4-FFF2-40B4-BE49-F238E27FC236}">
                <a16:creationId xmlns:a16="http://schemas.microsoft.com/office/drawing/2014/main" id="{4A54ED1E-B89C-24CD-4A1B-2BC8B57758EC}"/>
              </a:ext>
            </a:extLst>
          </p:cNvPr>
          <p:cNvSpPr/>
          <p:nvPr/>
        </p:nvSpPr>
        <p:spPr>
          <a:xfrm>
            <a:off x="9772169" y="5491857"/>
            <a:ext cx="832992" cy="215683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8 000</a:t>
            </a:r>
          </a:p>
        </p:txBody>
      </p:sp>
      <p:sp>
        <p:nvSpPr>
          <p:cNvPr id="2053" name="Suorakulmio: Pyöristetyt kulmat 2052">
            <a:extLst>
              <a:ext uri="{FF2B5EF4-FFF2-40B4-BE49-F238E27FC236}">
                <a16:creationId xmlns:a16="http://schemas.microsoft.com/office/drawing/2014/main" id="{0EA3DDF3-CC48-5EF2-2206-C9F58C0009BC}"/>
              </a:ext>
            </a:extLst>
          </p:cNvPr>
          <p:cNvSpPr/>
          <p:nvPr/>
        </p:nvSpPr>
        <p:spPr>
          <a:xfrm>
            <a:off x="9225246" y="5251874"/>
            <a:ext cx="832992" cy="215683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74 000</a:t>
            </a:r>
          </a:p>
        </p:txBody>
      </p:sp>
      <p:sp>
        <p:nvSpPr>
          <p:cNvPr id="2055" name="Suorakulmio: Pyöristetyt kulmat 2054">
            <a:extLst>
              <a:ext uri="{FF2B5EF4-FFF2-40B4-BE49-F238E27FC236}">
                <a16:creationId xmlns:a16="http://schemas.microsoft.com/office/drawing/2014/main" id="{2527F3B2-741A-BDDF-6750-788897D116F4}"/>
              </a:ext>
            </a:extLst>
          </p:cNvPr>
          <p:cNvSpPr/>
          <p:nvPr/>
        </p:nvSpPr>
        <p:spPr>
          <a:xfrm>
            <a:off x="10499472" y="5213627"/>
            <a:ext cx="832992" cy="215683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2 000</a:t>
            </a:r>
          </a:p>
        </p:txBody>
      </p:sp>
      <p:sp>
        <p:nvSpPr>
          <p:cNvPr id="2056" name="Suorakulmio: Pyöristetyt kulmat 2055">
            <a:extLst>
              <a:ext uri="{FF2B5EF4-FFF2-40B4-BE49-F238E27FC236}">
                <a16:creationId xmlns:a16="http://schemas.microsoft.com/office/drawing/2014/main" id="{2B7BC95E-E1C0-DA26-D11E-41D5BA938F10}"/>
              </a:ext>
            </a:extLst>
          </p:cNvPr>
          <p:cNvSpPr/>
          <p:nvPr/>
        </p:nvSpPr>
        <p:spPr>
          <a:xfrm>
            <a:off x="10499472" y="4852935"/>
            <a:ext cx="832992" cy="215683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 000</a:t>
            </a:r>
          </a:p>
        </p:txBody>
      </p:sp>
      <p:sp>
        <p:nvSpPr>
          <p:cNvPr id="2057" name="Suorakulmio: Pyöristetyt kulmat 2056">
            <a:extLst>
              <a:ext uri="{FF2B5EF4-FFF2-40B4-BE49-F238E27FC236}">
                <a16:creationId xmlns:a16="http://schemas.microsoft.com/office/drawing/2014/main" id="{1A7B6CDF-FFAF-E48D-6180-283E566F5B0F}"/>
              </a:ext>
            </a:extLst>
          </p:cNvPr>
          <p:cNvSpPr/>
          <p:nvPr/>
        </p:nvSpPr>
        <p:spPr>
          <a:xfrm>
            <a:off x="9820440" y="5005417"/>
            <a:ext cx="832992" cy="215683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30 000</a:t>
            </a:r>
          </a:p>
        </p:txBody>
      </p:sp>
      <p:sp>
        <p:nvSpPr>
          <p:cNvPr id="2058" name="Suorakulmio: Pyöristetyt kulmat 2057">
            <a:extLst>
              <a:ext uri="{FF2B5EF4-FFF2-40B4-BE49-F238E27FC236}">
                <a16:creationId xmlns:a16="http://schemas.microsoft.com/office/drawing/2014/main" id="{71EB5A37-EADE-9664-2E35-126C64890477}"/>
              </a:ext>
            </a:extLst>
          </p:cNvPr>
          <p:cNvSpPr/>
          <p:nvPr/>
        </p:nvSpPr>
        <p:spPr>
          <a:xfrm>
            <a:off x="9106315" y="4745093"/>
            <a:ext cx="832992" cy="215683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4 000</a:t>
            </a:r>
          </a:p>
        </p:txBody>
      </p:sp>
      <p:sp>
        <p:nvSpPr>
          <p:cNvPr id="2059" name="Suorakulmio: Pyöristetyt kulmat 2058">
            <a:extLst>
              <a:ext uri="{FF2B5EF4-FFF2-40B4-BE49-F238E27FC236}">
                <a16:creationId xmlns:a16="http://schemas.microsoft.com/office/drawing/2014/main" id="{F0A4ECF2-DDB5-0406-5ED8-C65213B92CED}"/>
              </a:ext>
            </a:extLst>
          </p:cNvPr>
          <p:cNvSpPr/>
          <p:nvPr/>
        </p:nvSpPr>
        <p:spPr>
          <a:xfrm>
            <a:off x="9641742" y="4042283"/>
            <a:ext cx="832992" cy="215683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42 000</a:t>
            </a:r>
          </a:p>
        </p:txBody>
      </p:sp>
      <p:sp>
        <p:nvSpPr>
          <p:cNvPr id="2060" name="Tekstiruutu 2059">
            <a:extLst>
              <a:ext uri="{FF2B5EF4-FFF2-40B4-BE49-F238E27FC236}">
                <a16:creationId xmlns:a16="http://schemas.microsoft.com/office/drawing/2014/main" id="{8856068B-71DB-8EFF-7099-8604F2BC4D21}"/>
              </a:ext>
            </a:extLst>
          </p:cNvPr>
          <p:cNvSpPr txBox="1"/>
          <p:nvPr/>
        </p:nvSpPr>
        <p:spPr>
          <a:xfrm>
            <a:off x="2371560" y="4698456"/>
            <a:ext cx="1677061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53 kasvavaa kunta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,5 miljoonaa asunto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3,3 miljoonaa asukasta </a:t>
            </a:r>
          </a:p>
        </p:txBody>
      </p:sp>
      <p:sp>
        <p:nvSpPr>
          <p:cNvPr id="2067" name="Vasen aaltosulje 2066">
            <a:extLst>
              <a:ext uri="{FF2B5EF4-FFF2-40B4-BE49-F238E27FC236}">
                <a16:creationId xmlns:a16="http://schemas.microsoft.com/office/drawing/2014/main" id="{A133D094-13A2-08AC-CEE0-A8F5BC82DB2F}"/>
              </a:ext>
            </a:extLst>
          </p:cNvPr>
          <p:cNvSpPr/>
          <p:nvPr/>
        </p:nvSpPr>
        <p:spPr>
          <a:xfrm rot="5400000">
            <a:off x="1920552" y="2872371"/>
            <a:ext cx="288981" cy="2290097"/>
          </a:xfrm>
          <a:prstGeom prst="leftBrace">
            <a:avLst>
              <a:gd name="adj1" fmla="val 8333"/>
              <a:gd name="adj2" fmla="val 47911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1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068" name="Vasen aaltosulje 2067">
            <a:extLst>
              <a:ext uri="{FF2B5EF4-FFF2-40B4-BE49-F238E27FC236}">
                <a16:creationId xmlns:a16="http://schemas.microsoft.com/office/drawing/2014/main" id="{E2A04181-438B-0A89-0217-0A044581558F}"/>
              </a:ext>
            </a:extLst>
          </p:cNvPr>
          <p:cNvSpPr/>
          <p:nvPr/>
        </p:nvSpPr>
        <p:spPr>
          <a:xfrm rot="16200000">
            <a:off x="3317039" y="4173195"/>
            <a:ext cx="231078" cy="444972"/>
          </a:xfrm>
          <a:prstGeom prst="leftBrac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069" name="Alatunnisteen paikkamerkki 4">
            <a:extLst>
              <a:ext uri="{FF2B5EF4-FFF2-40B4-BE49-F238E27FC236}">
                <a16:creationId xmlns:a16="http://schemas.microsoft.com/office/drawing/2014/main" id="{06D3EFFB-2B35-F87B-8BDA-58F28E37FE1E}"/>
              </a:ext>
            </a:extLst>
          </p:cNvPr>
          <p:cNvSpPr txBox="1">
            <a:spLocks/>
          </p:cNvSpPr>
          <p:nvPr/>
        </p:nvSpPr>
        <p:spPr>
          <a:xfrm>
            <a:off x="5392468" y="6381328"/>
            <a:ext cx="2549265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ähde: Tilastokeskus, VTT</a:t>
            </a:r>
          </a:p>
        </p:txBody>
      </p:sp>
    </p:spTree>
    <p:extLst>
      <p:ext uri="{BB962C8B-B14F-4D97-AF65-F5344CB8AC3E}">
        <p14:creationId xmlns:p14="http://schemas.microsoft.com/office/powerpoint/2010/main" val="25115119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uorakulmio 60">
            <a:extLst>
              <a:ext uri="{FF2B5EF4-FFF2-40B4-BE49-F238E27FC236}">
                <a16:creationId xmlns:a16="http://schemas.microsoft.com/office/drawing/2014/main" id="{501F66B9-76DE-410B-CF87-C455FAD38A96}"/>
              </a:ext>
            </a:extLst>
          </p:cNvPr>
          <p:cNvSpPr/>
          <p:nvPr/>
        </p:nvSpPr>
        <p:spPr>
          <a:xfrm>
            <a:off x="724593" y="1154611"/>
            <a:ext cx="2354472" cy="494219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2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Asunnot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7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2: 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7,9 %   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 2023: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38,0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 2024: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22,0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2025: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2,0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9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ysyy kanveesissa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loitusten määrä laskee edelleen. Romahdus supistaa käynnissä olevaa tuotantoa voimakkaasti vielä kuluvanakin vuonna. Rahoituskriisi jatkuu.   </a:t>
            </a:r>
          </a:p>
        </p:txBody>
      </p:sp>
      <p:graphicFrame>
        <p:nvGraphicFramePr>
          <p:cNvPr id="13" name="Kaavio 12">
            <a:extLst>
              <a:ext uri="{FF2B5EF4-FFF2-40B4-BE49-F238E27FC236}">
                <a16:creationId xmlns:a16="http://schemas.microsoft.com/office/drawing/2014/main" id="{C30E16D7-DE74-4E79-AB78-0848B16DC82B}"/>
              </a:ext>
            </a:extLst>
          </p:cNvPr>
          <p:cNvGraphicFramePr>
            <a:graphicFrameLocks/>
          </p:cNvGraphicFramePr>
          <p:nvPr/>
        </p:nvGraphicFramePr>
        <p:xfrm>
          <a:off x="759222" y="3721321"/>
          <a:ext cx="2232000" cy="235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3" name="Suorakulmio 92">
            <a:extLst>
              <a:ext uri="{FF2B5EF4-FFF2-40B4-BE49-F238E27FC236}">
                <a16:creationId xmlns:a16="http://schemas.microsoft.com/office/drawing/2014/main" id="{881CD086-B245-EDE5-FC62-C1019D0E0672}"/>
              </a:ext>
            </a:extLst>
          </p:cNvPr>
          <p:cNvSpPr/>
          <p:nvPr/>
        </p:nvSpPr>
        <p:spPr>
          <a:xfrm>
            <a:off x="8956177" y="1154611"/>
            <a:ext cx="2354472" cy="494219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2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Maa- ja vesirakentamin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7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2: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1,4 %</a:t>
            </a:r>
            <a:endParaRPr kumimoji="0" lang="fi-FI" sz="1200" b="0" i="0" u="none" strike="sng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3: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5,0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4: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2,0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5: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,0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6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nsi vuonna kasvua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uluvana vuonna jäädään vielä pakkaselle. Liikenne ja asuminen nostavat ensi vuonna kasvuun. Kustannusten rauhoittuminen jatkuu. </a:t>
            </a: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85" name="Suorakulmio 84">
            <a:extLst>
              <a:ext uri="{FF2B5EF4-FFF2-40B4-BE49-F238E27FC236}">
                <a16:creationId xmlns:a16="http://schemas.microsoft.com/office/drawing/2014/main" id="{7B757D70-CCFC-D5FF-0B2F-EC908BF632FE}"/>
              </a:ext>
            </a:extLst>
          </p:cNvPr>
          <p:cNvSpPr/>
          <p:nvPr/>
        </p:nvSpPr>
        <p:spPr>
          <a:xfrm>
            <a:off x="3452685" y="1154611"/>
            <a:ext cx="2354472" cy="494219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2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Muu kuin asuinrakentamin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7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2022:  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,1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 2023: 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5,4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4: 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,2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2025: 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0,4 %</a:t>
            </a: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eikkoa kasvua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opeutuminen muuttuneisiin rahoitusolosuhteisiin on kesken. Teollisuuden investointibuumi ei näy vielä ainakaan rakentamisen tilastoissa.</a:t>
            </a: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89" name="Suorakulmio 88">
            <a:extLst>
              <a:ext uri="{FF2B5EF4-FFF2-40B4-BE49-F238E27FC236}">
                <a16:creationId xmlns:a16="http://schemas.microsoft.com/office/drawing/2014/main" id="{4D8E24EC-05C1-4765-B594-27D0D2F8D392}"/>
              </a:ext>
            </a:extLst>
          </p:cNvPr>
          <p:cNvSpPr/>
          <p:nvPr/>
        </p:nvSpPr>
        <p:spPr>
          <a:xfrm>
            <a:off x="6196717" y="1154611"/>
            <a:ext cx="2354472" cy="494219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12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Korjausrakentamin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kumimoji="0" lang="fi-FI" sz="7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2: 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3,1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3: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-4,0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4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: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-1,0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5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: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 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,0 %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6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asvu hukassa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orjaamista rasittaa heikko taloustilanne ja energia avustusten loppuminen. Patoutunut kysyntä kääntää ensi 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uoden loivaan kasvuun. </a:t>
            </a:r>
            <a:endParaRPr kumimoji="0" lang="fi-FI" sz="900" b="1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0" name="Tekstiruutu 29">
            <a:extLst>
              <a:ext uri="{FF2B5EF4-FFF2-40B4-BE49-F238E27FC236}">
                <a16:creationId xmlns:a16="http://schemas.microsoft.com/office/drawing/2014/main" id="{6B0D1CF5-3CB4-4DCC-BAD4-501692BB24F3}"/>
              </a:ext>
            </a:extLst>
          </p:cNvPr>
          <p:cNvSpPr txBox="1"/>
          <p:nvPr/>
        </p:nvSpPr>
        <p:spPr>
          <a:xfrm>
            <a:off x="724594" y="6103470"/>
            <a:ext cx="1058605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= RAKENTAMINEN YHTEENSÄ</a:t>
            </a:r>
            <a:r>
              <a:rPr kumimoji="0" lang="fi-FI" sz="16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*</a:t>
            </a: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: 2022e: </a:t>
            </a:r>
            <a:r>
              <a:rPr kumimoji="0" lang="fi-FI" sz="16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+3,4</a:t>
            </a: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 </a:t>
            </a:r>
            <a:r>
              <a:rPr kumimoji="0" lang="fi-FI" sz="16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%   </a:t>
            </a: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2023e:</a:t>
            </a:r>
            <a:r>
              <a:rPr kumimoji="0" lang="fi-FI" sz="16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 -11,0</a:t>
            </a: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 </a:t>
            </a:r>
            <a:r>
              <a:rPr kumimoji="0" lang="fi-FI" sz="16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%    </a:t>
            </a: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2024e:</a:t>
            </a:r>
            <a:r>
              <a:rPr kumimoji="0" lang="fi-FI" sz="16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 -5 % </a:t>
            </a: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2025e:</a:t>
            </a:r>
            <a:r>
              <a:rPr kumimoji="0" lang="fi-FI" sz="16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 </a:t>
            </a:r>
            <a:r>
              <a:rPr kumimoji="0" lang="fi-FI" sz="16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+3 %  </a:t>
            </a:r>
          </a:p>
        </p:txBody>
      </p:sp>
      <p:sp>
        <p:nvSpPr>
          <p:cNvPr id="58" name="Tekstiruutu 57">
            <a:extLst>
              <a:ext uri="{FF2B5EF4-FFF2-40B4-BE49-F238E27FC236}">
                <a16:creationId xmlns:a16="http://schemas.microsoft.com/office/drawing/2014/main" id="{F7E283A2-3E08-4135-BDA9-A8CA5AF4B417}"/>
              </a:ext>
            </a:extLst>
          </p:cNvPr>
          <p:cNvSpPr txBox="1"/>
          <p:nvPr/>
        </p:nvSpPr>
        <p:spPr>
          <a:xfrm>
            <a:off x="3052458" y="3258387"/>
            <a:ext cx="4924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600" b="1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+</a:t>
            </a:r>
          </a:p>
        </p:txBody>
      </p:sp>
      <p:sp>
        <p:nvSpPr>
          <p:cNvPr id="40" name="Tekstiruutu 39">
            <a:extLst>
              <a:ext uri="{FF2B5EF4-FFF2-40B4-BE49-F238E27FC236}">
                <a16:creationId xmlns:a16="http://schemas.microsoft.com/office/drawing/2014/main" id="{FCBC63C0-00E2-4099-9BCF-E466481B078E}"/>
              </a:ext>
            </a:extLst>
          </p:cNvPr>
          <p:cNvSpPr txBox="1"/>
          <p:nvPr/>
        </p:nvSpPr>
        <p:spPr>
          <a:xfrm>
            <a:off x="2340725" y="6441096"/>
            <a:ext cx="120417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6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*kiinteähintainen arvonlisäys</a:t>
            </a:r>
          </a:p>
        </p:txBody>
      </p:sp>
      <p:sp>
        <p:nvSpPr>
          <p:cNvPr id="81" name="Vuokaaviosymboli: Liitin 80">
            <a:extLst>
              <a:ext uri="{FF2B5EF4-FFF2-40B4-BE49-F238E27FC236}">
                <a16:creationId xmlns:a16="http://schemas.microsoft.com/office/drawing/2014/main" id="{3090ADAC-F262-8296-6AF6-4816FFC81821}"/>
              </a:ext>
            </a:extLst>
          </p:cNvPr>
          <p:cNvSpPr/>
          <p:nvPr/>
        </p:nvSpPr>
        <p:spPr>
          <a:xfrm>
            <a:off x="2678043" y="965036"/>
            <a:ext cx="576000" cy="576000"/>
          </a:xfrm>
          <a:prstGeom prst="flowChartConnector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,7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D. €</a:t>
            </a:r>
          </a:p>
        </p:txBody>
      </p:sp>
      <p:sp>
        <p:nvSpPr>
          <p:cNvPr id="87" name="Vuokaaviosymboli: Liitin 86">
            <a:extLst>
              <a:ext uri="{FF2B5EF4-FFF2-40B4-BE49-F238E27FC236}">
                <a16:creationId xmlns:a16="http://schemas.microsoft.com/office/drawing/2014/main" id="{F615B338-B9D0-0AA4-F6C6-319D2647BB67}"/>
              </a:ext>
            </a:extLst>
          </p:cNvPr>
          <p:cNvSpPr/>
          <p:nvPr/>
        </p:nvSpPr>
        <p:spPr>
          <a:xfrm>
            <a:off x="5406994" y="967622"/>
            <a:ext cx="576000" cy="576000"/>
          </a:xfrm>
          <a:prstGeom prst="flowChartConnector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,1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D. €</a:t>
            </a:r>
          </a:p>
        </p:txBody>
      </p:sp>
      <p:sp>
        <p:nvSpPr>
          <p:cNvPr id="91" name="Vuokaaviosymboli: Liitin 90">
            <a:extLst>
              <a:ext uri="{FF2B5EF4-FFF2-40B4-BE49-F238E27FC236}">
                <a16:creationId xmlns:a16="http://schemas.microsoft.com/office/drawing/2014/main" id="{E9E1DD67-C600-E42B-4367-180061094CDD}"/>
              </a:ext>
            </a:extLst>
          </p:cNvPr>
          <p:cNvSpPr/>
          <p:nvPr/>
        </p:nvSpPr>
        <p:spPr>
          <a:xfrm>
            <a:off x="8160327" y="957416"/>
            <a:ext cx="576000" cy="576000"/>
          </a:xfrm>
          <a:prstGeom prst="flowChartConnector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,4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D. €</a:t>
            </a:r>
          </a:p>
        </p:txBody>
      </p:sp>
      <p:sp>
        <p:nvSpPr>
          <p:cNvPr id="95" name="Vuokaaviosymboli: Liitin 94">
            <a:extLst>
              <a:ext uri="{FF2B5EF4-FFF2-40B4-BE49-F238E27FC236}">
                <a16:creationId xmlns:a16="http://schemas.microsoft.com/office/drawing/2014/main" id="{51F3D2E2-E736-91C8-017F-85B49A9E5E89}"/>
              </a:ext>
            </a:extLst>
          </p:cNvPr>
          <p:cNvSpPr/>
          <p:nvPr/>
        </p:nvSpPr>
        <p:spPr>
          <a:xfrm>
            <a:off x="10927407" y="965036"/>
            <a:ext cx="576000" cy="576000"/>
          </a:xfrm>
          <a:prstGeom prst="flowChartConnector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,4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D. €</a:t>
            </a:r>
          </a:p>
        </p:txBody>
      </p:sp>
      <p:sp>
        <p:nvSpPr>
          <p:cNvPr id="99" name="Tekstiruutu 98">
            <a:extLst>
              <a:ext uri="{FF2B5EF4-FFF2-40B4-BE49-F238E27FC236}">
                <a16:creationId xmlns:a16="http://schemas.microsoft.com/office/drawing/2014/main" id="{DA812C8A-A92F-CB96-1D0F-437B7F1B111D}"/>
              </a:ext>
            </a:extLst>
          </p:cNvPr>
          <p:cNvSpPr txBox="1"/>
          <p:nvPr/>
        </p:nvSpPr>
        <p:spPr>
          <a:xfrm>
            <a:off x="5798554" y="3258387"/>
            <a:ext cx="4924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6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+</a:t>
            </a:r>
          </a:p>
        </p:txBody>
      </p:sp>
      <p:sp>
        <p:nvSpPr>
          <p:cNvPr id="100" name="Tekstiruutu 99">
            <a:extLst>
              <a:ext uri="{FF2B5EF4-FFF2-40B4-BE49-F238E27FC236}">
                <a16:creationId xmlns:a16="http://schemas.microsoft.com/office/drawing/2014/main" id="{CBCEF845-BA6A-851B-8D96-F710D5F9BE90}"/>
              </a:ext>
            </a:extLst>
          </p:cNvPr>
          <p:cNvSpPr txBox="1"/>
          <p:nvPr/>
        </p:nvSpPr>
        <p:spPr>
          <a:xfrm>
            <a:off x="8535905" y="3258387"/>
            <a:ext cx="4924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6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+</a:t>
            </a:r>
          </a:p>
        </p:txBody>
      </p:sp>
      <p:pic>
        <p:nvPicPr>
          <p:cNvPr id="111" name="Kuva 110" descr="Kaupunki">
            <a:extLst>
              <a:ext uri="{FF2B5EF4-FFF2-40B4-BE49-F238E27FC236}">
                <a16:creationId xmlns:a16="http://schemas.microsoft.com/office/drawing/2014/main" id="{926B36E9-24C9-36BA-861F-7D17EACF3F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11580" y="1176252"/>
            <a:ext cx="586975" cy="586975"/>
          </a:xfrm>
          <a:prstGeom prst="rect">
            <a:avLst/>
          </a:prstGeom>
        </p:spPr>
      </p:pic>
      <p:pic>
        <p:nvPicPr>
          <p:cNvPr id="112" name="Kuva 111" descr="Tehdas">
            <a:extLst>
              <a:ext uri="{FF2B5EF4-FFF2-40B4-BE49-F238E27FC236}">
                <a16:creationId xmlns:a16="http://schemas.microsoft.com/office/drawing/2014/main" id="{CF7C890E-B8E3-5EF6-2FE7-105FA7E41A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35074" y="1154786"/>
            <a:ext cx="586800" cy="586800"/>
          </a:xfrm>
          <a:prstGeom prst="rect">
            <a:avLst/>
          </a:prstGeom>
        </p:spPr>
      </p:pic>
      <p:pic>
        <p:nvPicPr>
          <p:cNvPr id="113" name="Kuva 112" descr="Suuri sivellin">
            <a:extLst>
              <a:ext uri="{FF2B5EF4-FFF2-40B4-BE49-F238E27FC236}">
                <a16:creationId xmlns:a16="http://schemas.microsoft.com/office/drawing/2014/main" id="{4034B25B-C1A6-DF79-5664-AA2F507FFE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6968151" y="1247952"/>
            <a:ext cx="396000" cy="396000"/>
          </a:xfrm>
          <a:prstGeom prst="rect">
            <a:avLst/>
          </a:prstGeom>
        </p:spPr>
      </p:pic>
      <p:pic>
        <p:nvPicPr>
          <p:cNvPr id="114" name="Kuva 113" descr="Saha">
            <a:extLst>
              <a:ext uri="{FF2B5EF4-FFF2-40B4-BE49-F238E27FC236}">
                <a16:creationId xmlns:a16="http://schemas.microsoft.com/office/drawing/2014/main" id="{4811887A-8CA5-0C26-E731-76163A23E5A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327989">
            <a:off x="7247412" y="1327624"/>
            <a:ext cx="396000" cy="396000"/>
          </a:xfrm>
          <a:prstGeom prst="rect">
            <a:avLst/>
          </a:prstGeom>
        </p:spPr>
      </p:pic>
      <p:pic>
        <p:nvPicPr>
          <p:cNvPr id="115" name="Kuva 114" descr="Nauloja">
            <a:extLst>
              <a:ext uri="{FF2B5EF4-FFF2-40B4-BE49-F238E27FC236}">
                <a16:creationId xmlns:a16="http://schemas.microsoft.com/office/drawing/2014/main" id="{CF9BA0E4-9893-A80B-A520-B23FC3A1B65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766061">
            <a:off x="7257714" y="1183392"/>
            <a:ext cx="288000" cy="288000"/>
          </a:xfrm>
          <a:prstGeom prst="rect">
            <a:avLst/>
          </a:prstGeom>
        </p:spPr>
      </p:pic>
      <p:pic>
        <p:nvPicPr>
          <p:cNvPr id="116" name="Kuva 115" descr="Kaivinkone">
            <a:extLst>
              <a:ext uri="{FF2B5EF4-FFF2-40B4-BE49-F238E27FC236}">
                <a16:creationId xmlns:a16="http://schemas.microsoft.com/office/drawing/2014/main" id="{2D398174-2D58-0906-23AA-E120322311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852490" y="1158883"/>
            <a:ext cx="576000" cy="576000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4595B273-BDAA-1BE3-8053-31A7842474B9}"/>
              </a:ext>
            </a:extLst>
          </p:cNvPr>
          <p:cNvSpPr txBox="1"/>
          <p:nvPr/>
        </p:nvSpPr>
        <p:spPr>
          <a:xfrm>
            <a:off x="1030323" y="5647725"/>
            <a:ext cx="155813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Ø -5,0 % vuosina 24-25</a:t>
            </a:r>
          </a:p>
        </p:txBody>
      </p:sp>
      <p:sp>
        <p:nvSpPr>
          <p:cNvPr id="11" name="Päivämäärän paikkamerkki 3">
            <a:extLst>
              <a:ext uri="{FF2B5EF4-FFF2-40B4-BE49-F238E27FC236}">
                <a16:creationId xmlns:a16="http://schemas.microsoft.com/office/drawing/2014/main" id="{FDEEBD78-1293-AC27-7819-7050A361F0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9416" y="6381328"/>
            <a:ext cx="1224136" cy="14329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B91C6A-2351-4036-8E72-6631A63EC99A}" type="datetime1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4.2024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2" name="Dian numeron paikkamerkki 5">
            <a:extLst>
              <a:ext uri="{FF2B5EF4-FFF2-40B4-BE49-F238E27FC236}">
                <a16:creationId xmlns:a16="http://schemas.microsoft.com/office/drawing/2014/main" id="{6ED3D64B-35C0-D29B-007D-DAD55106E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7988" y="6381328"/>
            <a:ext cx="431428" cy="14329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5" name="Otsikko 8">
            <a:extLst>
              <a:ext uri="{FF2B5EF4-FFF2-40B4-BE49-F238E27FC236}">
                <a16:creationId xmlns:a16="http://schemas.microsoft.com/office/drawing/2014/main" id="{91EDEFDB-634B-65BB-DA99-1F512DBE281D}"/>
              </a:ext>
            </a:extLst>
          </p:cNvPr>
          <p:cNvSpPr txBox="1">
            <a:spLocks/>
          </p:cNvSpPr>
          <p:nvPr/>
        </p:nvSpPr>
        <p:spPr>
          <a:xfrm>
            <a:off x="407988" y="396634"/>
            <a:ext cx="11376026" cy="465245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j-ea"/>
                <a:cs typeface="+mj-cs"/>
              </a:rPr>
              <a:t> Rakentamisen näkymä 2024-25: </a:t>
            </a:r>
            <a:r>
              <a:rPr kumimoji="0" lang="fi-FI" sz="17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j-ea"/>
                <a:cs typeface="+mj-cs"/>
              </a:rPr>
              <a:t>kriisi jatkuu – rakentaminen pysyy talouskasvun suurimpana uhkana  </a:t>
            </a:r>
          </a:p>
        </p:txBody>
      </p:sp>
      <p:sp>
        <p:nvSpPr>
          <p:cNvPr id="9" name="Vuokaaviosymboli: Liitin 8">
            <a:extLst>
              <a:ext uri="{FF2B5EF4-FFF2-40B4-BE49-F238E27FC236}">
                <a16:creationId xmlns:a16="http://schemas.microsoft.com/office/drawing/2014/main" id="{B3E4F028-B35C-8D31-F07C-945A380B728C}"/>
              </a:ext>
            </a:extLst>
          </p:cNvPr>
          <p:cNvSpPr>
            <a:spLocks noChangeAspect="1"/>
          </p:cNvSpPr>
          <p:nvPr/>
        </p:nvSpPr>
        <p:spPr>
          <a:xfrm>
            <a:off x="11373792" y="267441"/>
            <a:ext cx="756000" cy="756000"/>
          </a:xfrm>
          <a:prstGeom prst="flowChartConnector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2022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yhteensä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41,5</a:t>
            </a:r>
          </a:p>
          <a:p>
            <a:pPr marL="0" marR="0" lvl="0" indent="0" algn="ctr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MRD. €</a:t>
            </a:r>
          </a:p>
        </p:txBody>
      </p:sp>
      <p:graphicFrame>
        <p:nvGraphicFramePr>
          <p:cNvPr id="14" name="Kaavio 13">
            <a:extLst>
              <a:ext uri="{FF2B5EF4-FFF2-40B4-BE49-F238E27FC236}">
                <a16:creationId xmlns:a16="http://schemas.microsoft.com/office/drawing/2014/main" id="{2470230F-C3D3-48F1-A040-ED391CE2400B}"/>
              </a:ext>
            </a:extLst>
          </p:cNvPr>
          <p:cNvGraphicFramePr>
            <a:graphicFrameLocks/>
          </p:cNvGraphicFramePr>
          <p:nvPr/>
        </p:nvGraphicFramePr>
        <p:xfrm>
          <a:off x="3512474" y="3735196"/>
          <a:ext cx="2232000" cy="235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5" name="Tekstiruutu 14">
            <a:extLst>
              <a:ext uri="{FF2B5EF4-FFF2-40B4-BE49-F238E27FC236}">
                <a16:creationId xmlns:a16="http://schemas.microsoft.com/office/drawing/2014/main" id="{DCBE1246-2526-7DEA-B081-88CC65EE1CA8}"/>
              </a:ext>
            </a:extLst>
          </p:cNvPr>
          <p:cNvSpPr txBox="1"/>
          <p:nvPr/>
        </p:nvSpPr>
        <p:spPr>
          <a:xfrm>
            <a:off x="3813271" y="5671288"/>
            <a:ext cx="132906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Ø 0,4 % vuosina 24-25</a:t>
            </a:r>
          </a:p>
        </p:txBody>
      </p:sp>
      <p:graphicFrame>
        <p:nvGraphicFramePr>
          <p:cNvPr id="18" name="Kaavio 17">
            <a:extLst>
              <a:ext uri="{FF2B5EF4-FFF2-40B4-BE49-F238E27FC236}">
                <a16:creationId xmlns:a16="http://schemas.microsoft.com/office/drawing/2014/main" id="{B4D2D423-9C9E-4DF5-9AA5-AF3DFF191D36}"/>
              </a:ext>
            </a:extLst>
          </p:cNvPr>
          <p:cNvGraphicFramePr>
            <a:graphicFrameLocks/>
          </p:cNvGraphicFramePr>
          <p:nvPr/>
        </p:nvGraphicFramePr>
        <p:xfrm>
          <a:off x="6242669" y="3752713"/>
          <a:ext cx="2232000" cy="235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9" name="Tekstiruutu 18">
            <a:extLst>
              <a:ext uri="{FF2B5EF4-FFF2-40B4-BE49-F238E27FC236}">
                <a16:creationId xmlns:a16="http://schemas.microsoft.com/office/drawing/2014/main" id="{08957115-E006-5535-54C3-C10A7EDAE0B6}"/>
              </a:ext>
            </a:extLst>
          </p:cNvPr>
          <p:cNvSpPr txBox="1"/>
          <p:nvPr/>
        </p:nvSpPr>
        <p:spPr>
          <a:xfrm>
            <a:off x="6507766" y="5678963"/>
            <a:ext cx="132906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Ø 0,0 % vuosina 24-25</a:t>
            </a:r>
          </a:p>
        </p:txBody>
      </p:sp>
      <p:graphicFrame>
        <p:nvGraphicFramePr>
          <p:cNvPr id="20" name="Kaavio 19">
            <a:extLst>
              <a:ext uri="{FF2B5EF4-FFF2-40B4-BE49-F238E27FC236}">
                <a16:creationId xmlns:a16="http://schemas.microsoft.com/office/drawing/2014/main" id="{2EC3A4B7-6963-45B7-9994-0CD8E691C7F5}"/>
              </a:ext>
            </a:extLst>
          </p:cNvPr>
          <p:cNvGraphicFramePr>
            <a:graphicFrameLocks/>
          </p:cNvGraphicFramePr>
          <p:nvPr/>
        </p:nvGraphicFramePr>
        <p:xfrm>
          <a:off x="8986701" y="3749070"/>
          <a:ext cx="2232000" cy="235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1" name="Tekstiruutu 20">
            <a:extLst>
              <a:ext uri="{FF2B5EF4-FFF2-40B4-BE49-F238E27FC236}">
                <a16:creationId xmlns:a16="http://schemas.microsoft.com/office/drawing/2014/main" id="{A0F4E078-1796-B750-91C9-8734849D103D}"/>
              </a:ext>
            </a:extLst>
          </p:cNvPr>
          <p:cNvSpPr txBox="1"/>
          <p:nvPr/>
        </p:nvSpPr>
        <p:spPr>
          <a:xfrm>
            <a:off x="9261384" y="5688944"/>
            <a:ext cx="132906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Ø 0,0 % vuosina 24-25</a:t>
            </a:r>
          </a:p>
        </p:txBody>
      </p:sp>
      <p:sp>
        <p:nvSpPr>
          <p:cNvPr id="23" name="Alatunnisteen paikkamerkki 4">
            <a:extLst>
              <a:ext uri="{FF2B5EF4-FFF2-40B4-BE49-F238E27FC236}">
                <a16:creationId xmlns:a16="http://schemas.microsoft.com/office/drawing/2014/main" id="{C7AA6E4C-2BA7-2BB1-9A3C-510A9A7DA824}"/>
              </a:ext>
            </a:extLst>
          </p:cNvPr>
          <p:cNvSpPr txBox="1">
            <a:spLocks/>
          </p:cNvSpPr>
          <p:nvPr/>
        </p:nvSpPr>
        <p:spPr>
          <a:xfrm>
            <a:off x="5406994" y="6458143"/>
            <a:ext cx="3007787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ähde: Tilastokeskus, RT ennuste maaliskuu</a:t>
            </a: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13203895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AF2B42C-98C9-D846-BCB0-F1089BE4C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1035"/>
            <a:ext cx="11376026" cy="1010862"/>
          </a:xfrm>
        </p:spPr>
        <p:txBody>
          <a:bodyPr/>
          <a:lstStyle/>
          <a:p>
            <a:r>
              <a:rPr lang="fi-FI" sz="2400"/>
              <a:t>Rakennusteollisuuden ehdotukset rakennusalan tukemiseksi 2024-2027 </a:t>
            </a:r>
            <a:br>
              <a:rPr lang="fi-FI"/>
            </a:br>
            <a:endParaRPr lang="fi-FI">
              <a:latin typeface="+mn-lt"/>
            </a:endParaRPr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id="{D7CDEFA5-91C9-D147-54E2-757C6CFDCF54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407986" y="860348"/>
          <a:ext cx="5517416" cy="5446477"/>
        </p:xfrm>
        <a:graphic>
          <a:graphicData uri="http://schemas.openxmlformats.org/drawingml/2006/table">
            <a:tbl>
              <a:tblPr/>
              <a:tblGrid>
                <a:gridCol w="1246080">
                  <a:extLst>
                    <a:ext uri="{9D8B030D-6E8A-4147-A177-3AD203B41FA5}">
                      <a16:colId xmlns:a16="http://schemas.microsoft.com/office/drawing/2014/main" val="2634951330"/>
                    </a:ext>
                  </a:extLst>
                </a:gridCol>
                <a:gridCol w="2384528">
                  <a:extLst>
                    <a:ext uri="{9D8B030D-6E8A-4147-A177-3AD203B41FA5}">
                      <a16:colId xmlns:a16="http://schemas.microsoft.com/office/drawing/2014/main" val="2841665348"/>
                    </a:ext>
                  </a:extLst>
                </a:gridCol>
                <a:gridCol w="967353">
                  <a:extLst>
                    <a:ext uri="{9D8B030D-6E8A-4147-A177-3AD203B41FA5}">
                      <a16:colId xmlns:a16="http://schemas.microsoft.com/office/drawing/2014/main" val="2829065991"/>
                    </a:ext>
                  </a:extLst>
                </a:gridCol>
                <a:gridCol w="919455">
                  <a:extLst>
                    <a:ext uri="{9D8B030D-6E8A-4147-A177-3AD203B41FA5}">
                      <a16:colId xmlns:a16="http://schemas.microsoft.com/office/drawing/2014/main" val="3457289335"/>
                    </a:ext>
                  </a:extLst>
                </a:gridCol>
              </a:tblGrid>
              <a:tr h="362060">
                <a:tc>
                  <a:txBody>
                    <a:bodyPr/>
                    <a:lstStyle/>
                    <a:p>
                      <a:r>
                        <a:rPr lang="fi-FI" sz="1200" b="1" u="sng">
                          <a:solidFill>
                            <a:schemeClr val="accent1"/>
                          </a:solidFill>
                          <a:effectLst/>
                        </a:rPr>
                        <a:t>Kysyntätekijät</a:t>
                      </a:r>
                      <a:endParaRPr lang="fi-FI" sz="1200" u="sng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50" b="1">
                          <a:solidFill>
                            <a:schemeClr val="accent1"/>
                          </a:solidFill>
                          <a:effectLst/>
                        </a:rPr>
                        <a:t>Toimenpide-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50" b="1">
                          <a:solidFill>
                            <a:schemeClr val="accent1"/>
                          </a:solidFill>
                          <a:effectLst/>
                        </a:rPr>
                        <a:t>ehdotukset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50" b="1">
                          <a:solidFill>
                            <a:schemeClr val="accent1"/>
                          </a:solidFill>
                          <a:effectLst/>
                        </a:rPr>
                        <a:t>Vaikuttavuus 2024-27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50" b="1">
                          <a:solidFill>
                            <a:schemeClr val="accent1"/>
                          </a:solidFill>
                          <a:effectLst/>
                        </a:rPr>
                        <a:t>Budjetti-vaikutus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853896"/>
                  </a:ext>
                </a:extLst>
              </a:tr>
              <a:tr h="873433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bg1"/>
                          </a:solidFill>
                          <a:effectLst/>
                        </a:rPr>
                        <a:t>Rahoitus-olosuhteet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Lisätään ARA-tuotannon kysyntää välimallin avulla, rakennetaan asuntorakentamiselle valtion takausmalli, </a:t>
                      </a:r>
                      <a:r>
                        <a:rPr lang="fi-FI" sz="100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peutetaan korjaamisen takausmallin käyttöönottoa, lykätään </a:t>
                      </a:r>
                      <a:r>
                        <a:rPr lang="fi-FI" sz="1000" kern="1200" err="1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On</a:t>
                      </a:r>
                      <a:r>
                        <a:rPr lang="fi-FI" sz="100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lasajoa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600" b="1">
                          <a:solidFill>
                            <a:schemeClr val="accent1"/>
                          </a:solidFill>
                          <a:effectLst/>
                        </a:rPr>
                        <a:t>++++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yllä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372548"/>
                  </a:ext>
                </a:extLst>
              </a:tr>
              <a:tr h="741377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bg1"/>
                          </a:solidFill>
                          <a:effectLst/>
                        </a:rPr>
                        <a:t>Vero-/finanssipolitiikka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Palautetaan korkovähennysoikeus, poistetaan varainsiirtovero, laajennetaan kotitalousvähennys koskemaan taloyhtiöiden remontteja, </a:t>
                      </a:r>
                      <a:r>
                        <a:rPr lang="fi-FI" sz="100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etaan korjausrakentamista suhdanne-luontoisilla avustuksilla</a:t>
                      </a:r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, turvataan kuntien investointikyky 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600" b="1">
                          <a:solidFill>
                            <a:schemeClr val="accent1"/>
                          </a:solidFill>
                          <a:effectLst/>
                        </a:rPr>
                        <a:t>+++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85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yllä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5612223"/>
                  </a:ext>
                </a:extLst>
              </a:tr>
              <a:tr h="1004655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bg1"/>
                          </a:solidFill>
                          <a:effectLst/>
                        </a:rPr>
                        <a:t>Luottamus tulevaan talouskehitykseen ja asuntojen arvonnousuun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Tuetaan sijoittajakysyntää välimallin avulla, tuetaan kuluttajakysyntää ja asuntokauppaa palauttamalla korkovähennys ja poistamalla varainsiirtovero, helpotetaan rahoituksen saatavuutta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600" b="1">
                          <a:solidFill>
                            <a:schemeClr val="accent1"/>
                          </a:solidFill>
                          <a:effectLst/>
                        </a:rPr>
                        <a:t>+++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i-FI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18385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yllä</a:t>
                      </a:r>
                      <a:endParaRPr lang="fi-FI" sz="1600" b="1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8151823"/>
                  </a:ext>
                </a:extLst>
              </a:tr>
              <a:tr h="710477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bg1"/>
                          </a:solidFill>
                          <a:effectLst/>
                        </a:rPr>
                        <a:t>Makrovakaus-politiikka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Hyödynnetään taloyhtiölainoja, huojennetaan lainakattoa, minimoidaan sääntelystä kumpuavat rajoitteet 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600" b="1">
                          <a:solidFill>
                            <a:schemeClr val="accent1"/>
                          </a:solidFill>
                          <a:effectLst/>
                        </a:rPr>
                        <a:t>++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i-FI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85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</a:t>
                      </a:r>
                      <a:endParaRPr lang="fi-FI" sz="1600" b="1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823952"/>
                  </a:ext>
                </a:extLst>
              </a:tr>
              <a:tr h="710477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bg1"/>
                          </a:solidFill>
                          <a:effectLst/>
                        </a:rPr>
                        <a:t>Kotitalouksien tulot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Vauhditetaan asuntokauppaa ja työvoiman liikkuvuutta palauttamalla korkovähennys ja poistamalla varainsiirtovero, helpotetaan ensiasunnon ostoa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600" b="1">
                          <a:solidFill>
                            <a:schemeClr val="accent1"/>
                          </a:solidFill>
                          <a:effectLst/>
                        </a:rPr>
                        <a:t>++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i-FI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85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yllä</a:t>
                      </a:r>
                      <a:endParaRPr lang="fi-FI" sz="1600" b="1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0618382"/>
                  </a:ext>
                </a:extLst>
              </a:tr>
              <a:tr h="437721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bg1"/>
                          </a:solidFill>
                          <a:effectLst/>
                        </a:rPr>
                        <a:t>Väestökehitys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Tuetaan kaupungistumista mm. tuotantoa tukevilla MAL-sopimuksilla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600" b="1">
                          <a:solidFill>
                            <a:schemeClr val="accent1"/>
                          </a:solidFill>
                          <a:effectLst/>
                        </a:rPr>
                        <a:t>+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fi-FI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18385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279284"/>
                  </a:ext>
                </a:extLst>
              </a:tr>
            </a:tbl>
          </a:graphicData>
        </a:graphic>
      </p:graphicFrame>
      <p:graphicFrame>
        <p:nvGraphicFramePr>
          <p:cNvPr id="3" name="Sisällön paikkamerkki 7">
            <a:extLst>
              <a:ext uri="{FF2B5EF4-FFF2-40B4-BE49-F238E27FC236}">
                <a16:creationId xmlns:a16="http://schemas.microsoft.com/office/drawing/2014/main" id="{20265AAC-CE3D-D6AB-E043-24A28C66AD88}"/>
              </a:ext>
            </a:extLst>
          </p:cNvPr>
          <p:cNvGraphicFramePr>
            <a:graphicFrameLocks/>
          </p:cNvGraphicFramePr>
          <p:nvPr/>
        </p:nvGraphicFramePr>
        <p:xfrm>
          <a:off x="6228920" y="824399"/>
          <a:ext cx="5688864" cy="5482425"/>
        </p:xfrm>
        <a:graphic>
          <a:graphicData uri="http://schemas.openxmlformats.org/drawingml/2006/table">
            <a:tbl>
              <a:tblPr/>
              <a:tblGrid>
                <a:gridCol w="1342490">
                  <a:extLst>
                    <a:ext uri="{9D8B030D-6E8A-4147-A177-3AD203B41FA5}">
                      <a16:colId xmlns:a16="http://schemas.microsoft.com/office/drawing/2014/main" val="420908573"/>
                    </a:ext>
                  </a:extLst>
                </a:gridCol>
                <a:gridCol w="2479070">
                  <a:extLst>
                    <a:ext uri="{9D8B030D-6E8A-4147-A177-3AD203B41FA5}">
                      <a16:colId xmlns:a16="http://schemas.microsoft.com/office/drawing/2014/main" val="2539929865"/>
                    </a:ext>
                  </a:extLst>
                </a:gridCol>
                <a:gridCol w="971550">
                  <a:extLst>
                    <a:ext uri="{9D8B030D-6E8A-4147-A177-3AD203B41FA5}">
                      <a16:colId xmlns:a16="http://schemas.microsoft.com/office/drawing/2014/main" val="71075327"/>
                    </a:ext>
                  </a:extLst>
                </a:gridCol>
                <a:gridCol w="895754">
                  <a:extLst>
                    <a:ext uri="{9D8B030D-6E8A-4147-A177-3AD203B41FA5}">
                      <a16:colId xmlns:a16="http://schemas.microsoft.com/office/drawing/2014/main" val="3068011452"/>
                    </a:ext>
                  </a:extLst>
                </a:gridCol>
              </a:tblGrid>
              <a:tr h="426317">
                <a:tc>
                  <a:txBody>
                    <a:bodyPr/>
                    <a:lstStyle/>
                    <a:p>
                      <a:r>
                        <a:rPr lang="fi-FI" sz="1200" b="1" u="sng">
                          <a:solidFill>
                            <a:schemeClr val="accent1"/>
                          </a:solidFill>
                          <a:effectLst/>
                        </a:rPr>
                        <a:t>Tarjontatekijät</a:t>
                      </a:r>
                      <a:endParaRPr lang="fi-FI" sz="1200" u="sng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50" b="1">
                          <a:solidFill>
                            <a:schemeClr val="accent1"/>
                          </a:solidFill>
                          <a:effectLst/>
                        </a:rPr>
                        <a:t>Toimenpide-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50" b="1">
                          <a:solidFill>
                            <a:schemeClr val="accent1"/>
                          </a:solidFill>
                          <a:effectLst/>
                        </a:rPr>
                        <a:t>ehdotukset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1">
                          <a:solidFill>
                            <a:schemeClr val="accent1"/>
                          </a:solidFill>
                          <a:effectLst/>
                        </a:rPr>
                        <a:t>Vaikuttavuus 2024-27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50" b="1">
                          <a:solidFill>
                            <a:schemeClr val="accent1"/>
                          </a:solidFill>
                          <a:effectLst/>
                        </a:rPr>
                        <a:t>Budjetti-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50" b="1">
                          <a:solidFill>
                            <a:schemeClr val="accent1"/>
                          </a:solidFill>
                          <a:effectLst/>
                        </a:rPr>
                        <a:t>Vaikutus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853896"/>
                  </a:ext>
                </a:extLst>
              </a:tr>
              <a:tr h="982263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Rahoitus-</a:t>
                      </a:r>
                    </a:p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olosuhteet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Varmistetaan asuntorakentamisen rahoituksen saatavuus ja tarvittaessa kehitetään RS-järjestelmää, asuntorakentamiselle valtion takausmalli, </a:t>
                      </a:r>
                      <a:r>
                        <a:rPr lang="fi-FI" sz="100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peutetaan korjaamisen takausmallin käyttöönottoa</a:t>
                      </a:r>
                      <a:endParaRPr lang="fi-FI" sz="100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b="1">
                          <a:solidFill>
                            <a:schemeClr val="accent1"/>
                          </a:solidFill>
                          <a:effectLst/>
                        </a:rPr>
                        <a:t>++++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372548"/>
                  </a:ext>
                </a:extLst>
              </a:tr>
              <a:tr h="982263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Vero- ja finanssipolitiikka, ARA-tuotanto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</a:t>
                      </a:r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oustavoitetaan </a:t>
                      </a:r>
                      <a:r>
                        <a:rPr lang="fi-FI" sz="1000" err="1">
                          <a:solidFill>
                            <a:schemeClr val="accent1"/>
                          </a:solidFill>
                          <a:effectLst/>
                        </a:rPr>
                        <a:t>ARAn</a:t>
                      </a:r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 ehtoja</a:t>
                      </a:r>
                      <a:r>
                        <a:rPr lang="fi-FI" sz="100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rakennetaan malli täytetakauksille, </a:t>
                      </a:r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parannetaan tuotantotukien toimivuutta kaikissa suhdannetilanteissa, </a:t>
                      </a:r>
                      <a:r>
                        <a:rPr lang="fi-FI" sz="1000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ykätään kiinteistöverouudistusta, alennetaan arvonlisäveroa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b="1">
                          <a:solidFill>
                            <a:schemeClr val="accent1"/>
                          </a:solidFill>
                          <a:effectLst/>
                        </a:rPr>
                        <a:t>+++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85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yllä/Ei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5612223"/>
                  </a:ext>
                </a:extLst>
              </a:tr>
              <a:tr h="544594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Kaavoitus, luvitus </a:t>
                      </a:r>
                    </a:p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ja tonttimaa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Joustavoitetaan tontinluovutusehtoja ja maankäyttösopimuksia, käsitellään kaavapoikkeamat ja luvat kiireellisinä 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b="1">
                          <a:solidFill>
                            <a:schemeClr val="accent1"/>
                          </a:solidFill>
                          <a:effectLst/>
                        </a:rPr>
                        <a:t>+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18385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5235204"/>
                  </a:ext>
                </a:extLst>
              </a:tr>
              <a:tr h="536801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Rakennus-</a:t>
                      </a:r>
                    </a:p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Määräykset ym., 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Kiirehditään hallitusohjelman rakentamista koskevia lakihankkeita, minimoidaan hallinnolliset esteet  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b="1">
                          <a:solidFill>
                            <a:schemeClr val="accent1"/>
                          </a:solidFill>
                          <a:effectLst/>
                        </a:rPr>
                        <a:t>+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18385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299719"/>
                  </a:ext>
                </a:extLst>
              </a:tr>
              <a:tr h="455405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Rakennussektorin kilpailu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Hyödynnetään taloyhtiölainoja, rakennetaan malli valtion takauksille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b="1">
                          <a:solidFill>
                            <a:schemeClr val="accent1"/>
                          </a:solidFill>
                          <a:effectLst/>
                        </a:rPr>
                        <a:t>+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18385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799205"/>
                  </a:ext>
                </a:extLst>
              </a:tr>
              <a:tr h="544594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Infrahankkeiden </a:t>
                      </a:r>
                    </a:p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vipu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Nopeutetaan hallitusohjelman infrahankkeiden käynnistymistä ja aiheutetaan asuntorakentamista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b="1">
                          <a:solidFill>
                            <a:schemeClr val="accent1"/>
                          </a:solidFill>
                          <a:effectLst/>
                        </a:rPr>
                        <a:t>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18385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yllä/Ei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6466031"/>
                  </a:ext>
                </a:extLst>
              </a:tr>
              <a:tr h="554783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Tuotannon tekijät, työvoiman saatavuus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Varmistetaan koulutus ja liikkuvuus alueiden ja maiden välillä, torjutaan alan osaajakatoa vuosina 2024-27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b="1">
                          <a:solidFill>
                            <a:schemeClr val="accent1"/>
                          </a:solidFill>
                          <a:effectLst/>
                        </a:rPr>
                        <a:t>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183858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i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1916920"/>
                  </a:ext>
                </a:extLst>
              </a:tr>
              <a:tr h="455405">
                <a:tc>
                  <a:txBody>
                    <a:bodyPr/>
                    <a:lstStyle/>
                    <a:p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Rakennussektorin tuottavuus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Kasvatetaan rakennusalan </a:t>
                      </a:r>
                    </a:p>
                    <a:p>
                      <a:pPr algn="ctr"/>
                      <a:r>
                        <a:rPr lang="fi-FI" sz="1000" err="1">
                          <a:solidFill>
                            <a:schemeClr val="accent1"/>
                          </a:solidFill>
                          <a:effectLst/>
                        </a:rPr>
                        <a:t>tk</a:t>
                      </a:r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-panostuksia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i-FI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00">
                          <a:solidFill>
                            <a:schemeClr val="accent1"/>
                          </a:solidFill>
                          <a:effectLst/>
                        </a:rPr>
                        <a:t>Kyllä</a:t>
                      </a:r>
                    </a:p>
                  </a:txBody>
                  <a:tcPr marL="50396" marR="50396" marT="28798" marB="2879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5721576"/>
                  </a:ext>
                </a:extLst>
              </a:tr>
            </a:tbl>
          </a:graphicData>
        </a:graphic>
      </p:graphicFrame>
      <p:sp>
        <p:nvSpPr>
          <p:cNvPr id="4" name="Päivämäärän paikkamerkki 4">
            <a:extLst>
              <a:ext uri="{FF2B5EF4-FFF2-40B4-BE49-F238E27FC236}">
                <a16:creationId xmlns:a16="http://schemas.microsoft.com/office/drawing/2014/main" id="{6D92FE1B-0334-25D7-8250-3E81F3865D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9416" y="6381328"/>
            <a:ext cx="1224136" cy="14329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958439-7D8D-4199-B468-27E28379EC90}" type="datetime1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4.2024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Alatunnisteen paikkamerkki 5">
            <a:extLst>
              <a:ext uri="{FF2B5EF4-FFF2-40B4-BE49-F238E27FC236}">
                <a16:creationId xmlns:a16="http://schemas.microsoft.com/office/drawing/2014/main" id="{EB05AE02-EB6B-853F-CE0B-A9F9E1C354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63552" y="6425595"/>
            <a:ext cx="8928992" cy="14329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© Rakennusteollisuus RT</a:t>
            </a:r>
          </a:p>
        </p:txBody>
      </p:sp>
      <p:sp>
        <p:nvSpPr>
          <p:cNvPr id="9" name="Dian numeron paikkamerkki 6">
            <a:extLst>
              <a:ext uri="{FF2B5EF4-FFF2-40B4-BE49-F238E27FC236}">
                <a16:creationId xmlns:a16="http://schemas.microsoft.com/office/drawing/2014/main" id="{6098F096-4580-D2E4-6A1C-E377FE486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7988" y="6381328"/>
            <a:ext cx="431428" cy="14329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pic>
        <p:nvPicPr>
          <p:cNvPr id="32" name="Kuva 31" descr="Lisää tasaisella täytöllä">
            <a:extLst>
              <a:ext uri="{FF2B5EF4-FFF2-40B4-BE49-F238E27FC236}">
                <a16:creationId xmlns:a16="http://schemas.microsoft.com/office/drawing/2014/main" id="{3BE99119-0AEA-2BCD-CF00-041A1D29C1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739476">
            <a:off x="1351268" y="1401858"/>
            <a:ext cx="282429" cy="282429"/>
          </a:xfrm>
          <a:prstGeom prst="rect">
            <a:avLst/>
          </a:prstGeom>
        </p:spPr>
      </p:pic>
      <p:pic>
        <p:nvPicPr>
          <p:cNvPr id="33" name="Kuva 32" descr="Lisää tasaisella täytöllä">
            <a:extLst>
              <a:ext uri="{FF2B5EF4-FFF2-40B4-BE49-F238E27FC236}">
                <a16:creationId xmlns:a16="http://schemas.microsoft.com/office/drawing/2014/main" id="{5370F517-A4F6-042F-2DA7-2775F952B5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739476">
            <a:off x="1351269" y="2292978"/>
            <a:ext cx="282429" cy="282429"/>
          </a:xfrm>
          <a:prstGeom prst="rect">
            <a:avLst/>
          </a:prstGeom>
        </p:spPr>
      </p:pic>
      <p:pic>
        <p:nvPicPr>
          <p:cNvPr id="34" name="Kuva 33" descr="Lisää tasaisella täytöllä">
            <a:extLst>
              <a:ext uri="{FF2B5EF4-FFF2-40B4-BE49-F238E27FC236}">
                <a16:creationId xmlns:a16="http://schemas.microsoft.com/office/drawing/2014/main" id="{B483B09C-B710-FA10-1B8E-9FAD9DDF3D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739476">
            <a:off x="1351267" y="3320971"/>
            <a:ext cx="282429" cy="282429"/>
          </a:xfrm>
          <a:prstGeom prst="rect">
            <a:avLst/>
          </a:prstGeom>
        </p:spPr>
      </p:pic>
      <p:pic>
        <p:nvPicPr>
          <p:cNvPr id="35" name="Kuva 34" descr="Lisää tasaisella täytöllä">
            <a:extLst>
              <a:ext uri="{FF2B5EF4-FFF2-40B4-BE49-F238E27FC236}">
                <a16:creationId xmlns:a16="http://schemas.microsoft.com/office/drawing/2014/main" id="{5C37E3AD-1E84-95FF-DBF0-B9D0F4DBB9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739476">
            <a:off x="1351266" y="4363182"/>
            <a:ext cx="282429" cy="282429"/>
          </a:xfrm>
          <a:prstGeom prst="rect">
            <a:avLst/>
          </a:prstGeom>
        </p:spPr>
      </p:pic>
      <p:pic>
        <p:nvPicPr>
          <p:cNvPr id="36" name="Kuva 35" descr="Lisää tasaisella täytöllä">
            <a:extLst>
              <a:ext uri="{FF2B5EF4-FFF2-40B4-BE49-F238E27FC236}">
                <a16:creationId xmlns:a16="http://schemas.microsoft.com/office/drawing/2014/main" id="{123B15C8-1AD0-8613-D96A-DB751B4765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739476">
            <a:off x="1351266" y="5092190"/>
            <a:ext cx="282429" cy="282429"/>
          </a:xfrm>
          <a:prstGeom prst="rect">
            <a:avLst/>
          </a:prstGeom>
        </p:spPr>
      </p:pic>
      <p:pic>
        <p:nvPicPr>
          <p:cNvPr id="37" name="Kuva 36" descr="Lisää tasaisella täytöllä">
            <a:extLst>
              <a:ext uri="{FF2B5EF4-FFF2-40B4-BE49-F238E27FC236}">
                <a16:creationId xmlns:a16="http://schemas.microsoft.com/office/drawing/2014/main" id="{1280CE0D-7EF2-C32C-EB63-415DDB9F8A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739476">
            <a:off x="7230997" y="1448864"/>
            <a:ext cx="282429" cy="282429"/>
          </a:xfrm>
          <a:prstGeom prst="rect">
            <a:avLst/>
          </a:prstGeom>
        </p:spPr>
      </p:pic>
      <p:pic>
        <p:nvPicPr>
          <p:cNvPr id="39" name="Kuva 38" descr="Lisää tasaisella täytöllä">
            <a:extLst>
              <a:ext uri="{FF2B5EF4-FFF2-40B4-BE49-F238E27FC236}">
                <a16:creationId xmlns:a16="http://schemas.microsoft.com/office/drawing/2014/main" id="{707C5FC2-A7E1-4B6B-778D-02B05A30F0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739476">
            <a:off x="7230996" y="3842389"/>
            <a:ext cx="282429" cy="282429"/>
          </a:xfrm>
          <a:prstGeom prst="rect">
            <a:avLst/>
          </a:prstGeom>
        </p:spPr>
      </p:pic>
      <p:pic>
        <p:nvPicPr>
          <p:cNvPr id="40" name="Kuva 39" descr="Lisää tasaisella täytöllä">
            <a:extLst>
              <a:ext uri="{FF2B5EF4-FFF2-40B4-BE49-F238E27FC236}">
                <a16:creationId xmlns:a16="http://schemas.microsoft.com/office/drawing/2014/main" id="{FB44596E-0814-ACFE-B831-4DE23A98DF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739476">
            <a:off x="420294" y="675371"/>
            <a:ext cx="285674" cy="285674"/>
          </a:xfrm>
          <a:prstGeom prst="rect">
            <a:avLst/>
          </a:prstGeom>
        </p:spPr>
      </p:pic>
      <p:sp>
        <p:nvSpPr>
          <p:cNvPr id="41" name="Tekstiruutu 40">
            <a:extLst>
              <a:ext uri="{FF2B5EF4-FFF2-40B4-BE49-F238E27FC236}">
                <a16:creationId xmlns:a16="http://schemas.microsoft.com/office/drawing/2014/main" id="{DC0D80B7-C216-A92D-4DB6-D4C90A95EF4D}"/>
              </a:ext>
            </a:extLst>
          </p:cNvPr>
          <p:cNvSpPr txBox="1"/>
          <p:nvPr/>
        </p:nvSpPr>
        <p:spPr>
          <a:xfrm>
            <a:off x="563131" y="684116"/>
            <a:ext cx="30396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= Pääministeri Petteri </a:t>
            </a:r>
            <a:r>
              <a:rPr kumimoji="0" lang="fi-FI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rpon</a:t>
            </a: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hallituksen toimia</a:t>
            </a:r>
          </a:p>
        </p:txBody>
      </p:sp>
      <p:pic>
        <p:nvPicPr>
          <p:cNvPr id="6" name="Kuva 5" descr="Lisää tasaisella täytöllä">
            <a:extLst>
              <a:ext uri="{FF2B5EF4-FFF2-40B4-BE49-F238E27FC236}">
                <a16:creationId xmlns:a16="http://schemas.microsoft.com/office/drawing/2014/main" id="{1F190E4D-6223-F326-C74C-2197BC29A4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739476">
            <a:off x="7230995" y="4755752"/>
            <a:ext cx="282429" cy="282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6177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385C2341-D238-C4F7-93FD-CBEA154AAD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75" y="6064264"/>
            <a:ext cx="2126505" cy="473798"/>
          </a:xfrm>
          <a:prstGeom prst="rect">
            <a:avLst/>
          </a:prstGeom>
        </p:spPr>
      </p:pic>
      <p:pic>
        <p:nvPicPr>
          <p:cNvPr id="9" name="Kuva 8" descr="Lehti ääriviiva">
            <a:extLst>
              <a:ext uri="{FF2B5EF4-FFF2-40B4-BE49-F238E27FC236}">
                <a16:creationId xmlns:a16="http://schemas.microsoft.com/office/drawing/2014/main" id="{4F50BEE1-C6D1-59E5-CC50-31E6BA0285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14614" y="1485074"/>
            <a:ext cx="362771" cy="362771"/>
          </a:xfrm>
          <a:prstGeom prst="rect">
            <a:avLst/>
          </a:prstGeom>
        </p:spPr>
      </p:pic>
      <p:sp>
        <p:nvSpPr>
          <p:cNvPr id="2" name="Tekstiruutu 1">
            <a:extLst>
              <a:ext uri="{FF2B5EF4-FFF2-40B4-BE49-F238E27FC236}">
                <a16:creationId xmlns:a16="http://schemas.microsoft.com/office/drawing/2014/main" id="{6D436C11-B1B1-CB5A-D98C-6E8EC193DA94}"/>
              </a:ext>
            </a:extLst>
          </p:cNvPr>
          <p:cNvSpPr txBox="1"/>
          <p:nvPr/>
        </p:nvSpPr>
        <p:spPr>
          <a:xfrm>
            <a:off x="753391" y="1952251"/>
            <a:ext cx="10685215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riittinen menestystekijä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4000" b="1" dirty="0">
                <a:solidFill>
                  <a:schemeClr val="accent1"/>
                </a:solidFill>
              </a:rPr>
              <a:t>Kaupungit säilyttävät investointikykynsä ja ymmärtävät maankäytön ja rakentamisen merkityksen kasvulle ja ilmastonmuutokselle</a:t>
            </a:r>
            <a:endParaRPr kumimoji="0" lang="fi-FI" sz="40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" name="Päivämäärän paikkamerkki 3">
            <a:extLst>
              <a:ext uri="{FF2B5EF4-FFF2-40B4-BE49-F238E27FC236}">
                <a16:creationId xmlns:a16="http://schemas.microsoft.com/office/drawing/2014/main" id="{1684D4C2-DE21-58CC-E78E-DF8967C0C3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9416" y="6381328"/>
            <a:ext cx="1224136" cy="143298"/>
          </a:xfrm>
        </p:spPr>
        <p:txBody>
          <a:bodyPr/>
          <a:lstStyle/>
          <a:p>
            <a:fld id="{23147014-61DF-4F1C-895F-1CED0D384E1B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Alatunnisteen paikkamerkki 4">
            <a:extLst>
              <a:ext uri="{FF2B5EF4-FFF2-40B4-BE49-F238E27FC236}">
                <a16:creationId xmlns:a16="http://schemas.microsoft.com/office/drawing/2014/main" id="{F8A8E125-92EE-5DFE-E44D-E2EAD12B1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63552" y="6381328"/>
            <a:ext cx="8928992" cy="143296"/>
          </a:xfrm>
        </p:spPr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8" name="Dian numeron paikkamerkki 5">
            <a:extLst>
              <a:ext uri="{FF2B5EF4-FFF2-40B4-BE49-F238E27FC236}">
                <a16:creationId xmlns:a16="http://schemas.microsoft.com/office/drawing/2014/main" id="{FCD3BCD6-792F-593F-B96D-2E872920F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7988" y="6381328"/>
            <a:ext cx="431428" cy="143298"/>
          </a:xfrm>
        </p:spPr>
        <p:txBody>
          <a:bodyPr/>
          <a:lstStyle/>
          <a:p>
            <a:fld id="{DFD61EF7-2460-4EE9-A031-27FEBC4F9A95}" type="slidenum">
              <a:rPr lang="fi-FI" noProof="0" smtClean="0"/>
              <a:pPr/>
              <a:t>13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5432737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D07F38C6-65D2-8BCB-C484-A8784ADE7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8B93C-268E-4D94-8C5C-A1E3B3F50EAA}" type="datetime1">
              <a:rPr lang="fi-FI" noProof="0" smtClean="0">
                <a:solidFill>
                  <a:schemeClr val="accent1"/>
                </a:solidFill>
              </a:rPr>
              <a:t>21.4.2024</a:t>
            </a:fld>
            <a:endParaRPr lang="fi-FI" noProof="0">
              <a:solidFill>
                <a:schemeClr val="accent1"/>
              </a:solidFill>
            </a:endParaRPr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E52B818D-E4DC-456D-C97E-A96468756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>
                <a:solidFill>
                  <a:schemeClr val="accent1"/>
                </a:solidFill>
              </a:rPr>
              <a:t>© Rakennusteollisuus RT</a:t>
            </a:r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B02C007D-E16D-0988-71A9-5382DAF95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>
                <a:solidFill>
                  <a:schemeClr val="accent1"/>
                </a:solidFill>
                <a:latin typeface="+mn-lt"/>
              </a:rPr>
              <a:pPr/>
              <a:t>2</a:t>
            </a:fld>
            <a:endParaRPr lang="fi-FI" noProof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8" name="Otsikko 20">
            <a:extLst>
              <a:ext uri="{FF2B5EF4-FFF2-40B4-BE49-F238E27FC236}">
                <a16:creationId xmlns:a16="http://schemas.microsoft.com/office/drawing/2014/main" id="{9D44C23B-1939-1036-425C-C66FDA8BF60A}"/>
              </a:ext>
            </a:extLst>
          </p:cNvPr>
          <p:cNvSpPr txBox="1">
            <a:spLocks/>
          </p:cNvSpPr>
          <p:nvPr/>
        </p:nvSpPr>
        <p:spPr>
          <a:xfrm>
            <a:off x="83948" y="414952"/>
            <a:ext cx="12024103" cy="1204249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28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267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defRPr/>
            </a:pPr>
            <a:r>
              <a:rPr lang="fi-FI" sz="3200" dirty="0">
                <a:solidFill>
                  <a:schemeClr val="accent1"/>
                </a:solidFill>
                <a:latin typeface="+mn-lt"/>
              </a:rPr>
              <a:t>Investointi rakennettuun ympäristöön = </a:t>
            </a:r>
          </a:p>
          <a:p>
            <a:pPr algn="ctr">
              <a:defRPr/>
            </a:pPr>
            <a:r>
              <a:rPr lang="fi-FI" sz="3200" dirty="0">
                <a:solidFill>
                  <a:schemeClr val="accent1"/>
                </a:solidFill>
                <a:latin typeface="+mn-lt"/>
              </a:rPr>
              <a:t>vaikuttavinta politiikkaa mitä kuntapäättäjä voi tehdä </a:t>
            </a:r>
            <a:r>
              <a:rPr lang="fi-FI" sz="3200" b="0" dirty="0">
                <a:solidFill>
                  <a:schemeClr val="accent1"/>
                </a:solidFill>
                <a:latin typeface="+mn-lt"/>
              </a:rPr>
              <a:t> </a:t>
            </a:r>
            <a:br>
              <a:rPr lang="fi-FI" sz="3200" dirty="0">
                <a:solidFill>
                  <a:schemeClr val="accent1"/>
                </a:solidFill>
                <a:latin typeface="+mn-lt"/>
              </a:rPr>
            </a:br>
            <a:endParaRPr lang="fi-FI" sz="1400" b="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9" name="Sisällön paikkamerkki 222">
            <a:extLst>
              <a:ext uri="{FF2B5EF4-FFF2-40B4-BE49-F238E27FC236}">
                <a16:creationId xmlns:a16="http://schemas.microsoft.com/office/drawing/2014/main" id="{C6351BBB-B889-8451-BC01-9954399A3347}"/>
              </a:ext>
            </a:extLst>
          </p:cNvPr>
          <p:cNvSpPr txBox="1">
            <a:spLocks/>
          </p:cNvSpPr>
          <p:nvPr/>
        </p:nvSpPr>
        <p:spPr>
          <a:xfrm>
            <a:off x="4718406" y="3347111"/>
            <a:ext cx="3025419" cy="2082139"/>
          </a:xfrm>
          <a:prstGeom prst="rect">
            <a:avLst/>
          </a:prstGeom>
        </p:spPr>
        <p:txBody>
          <a:bodyPr tIns="252000" rIns="14400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fi-FI" sz="2000" dirty="0">
                <a:solidFill>
                  <a:schemeClr val="accent1"/>
                </a:solidFill>
              </a:rPr>
              <a:t>työpaikoista kaupunkiseuduilla, jossa syntyy 80% talouskasvusta ja 70 % päästöistä</a:t>
            </a:r>
          </a:p>
          <a:p>
            <a:pPr marL="0" indent="0" algn="ctr">
              <a:buFont typeface="Arial" panose="020B0604020202020204" pitchFamily="34" charset="0"/>
              <a:buNone/>
              <a:defRPr/>
            </a:pPr>
            <a:endParaRPr lang="fi-FI" sz="2000" dirty="0">
              <a:solidFill>
                <a:schemeClr val="accent1"/>
              </a:solidFill>
            </a:endParaRPr>
          </a:p>
        </p:txBody>
      </p:sp>
      <p:sp>
        <p:nvSpPr>
          <p:cNvPr id="11" name="Sisällön paikkamerkki 232">
            <a:extLst>
              <a:ext uri="{FF2B5EF4-FFF2-40B4-BE49-F238E27FC236}">
                <a16:creationId xmlns:a16="http://schemas.microsoft.com/office/drawing/2014/main" id="{31D0B9B2-45B9-D721-D96B-FD22DF96E116}"/>
              </a:ext>
            </a:extLst>
          </p:cNvPr>
          <p:cNvSpPr txBox="1">
            <a:spLocks/>
          </p:cNvSpPr>
          <p:nvPr/>
        </p:nvSpPr>
        <p:spPr>
          <a:xfrm>
            <a:off x="8477460" y="3347111"/>
            <a:ext cx="3133203" cy="1620317"/>
          </a:xfrm>
          <a:prstGeom prst="rect">
            <a:avLst/>
          </a:prstGeom>
        </p:spPr>
        <p:txBody>
          <a:bodyPr tIns="25200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fi-FI" sz="2000" dirty="0">
                <a:solidFill>
                  <a:schemeClr val="accent1"/>
                </a:solidFill>
              </a:rPr>
              <a:t>Jokainen rakentamiseen  investoitu euro tuottaa itsensä kaksinkertaisesti takaisin</a:t>
            </a:r>
          </a:p>
        </p:txBody>
      </p:sp>
      <p:sp>
        <p:nvSpPr>
          <p:cNvPr id="13" name="Tekstiruutu 12">
            <a:extLst>
              <a:ext uri="{FF2B5EF4-FFF2-40B4-BE49-F238E27FC236}">
                <a16:creationId xmlns:a16="http://schemas.microsoft.com/office/drawing/2014/main" id="{9DFC3CFE-94D7-F9D1-823E-6AB69559D720}"/>
              </a:ext>
            </a:extLst>
          </p:cNvPr>
          <p:cNvSpPr txBox="1"/>
          <p:nvPr/>
        </p:nvSpPr>
        <p:spPr>
          <a:xfrm>
            <a:off x="-602345" y="2228366"/>
            <a:ext cx="609600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Font typeface="Arial" panose="020B0604020202020204" pitchFamily="34" charset="0"/>
              <a:buNone/>
              <a:defRPr/>
            </a:pPr>
            <a:r>
              <a:rPr lang="fi-FI" sz="8800" b="1" dirty="0">
                <a:solidFill>
                  <a:schemeClr val="accent1"/>
                </a:solidFill>
              </a:rPr>
              <a:t>65%</a:t>
            </a:r>
          </a:p>
        </p:txBody>
      </p:sp>
      <p:sp>
        <p:nvSpPr>
          <p:cNvPr id="15" name="Tekstiruutu 14">
            <a:extLst>
              <a:ext uri="{FF2B5EF4-FFF2-40B4-BE49-F238E27FC236}">
                <a16:creationId xmlns:a16="http://schemas.microsoft.com/office/drawing/2014/main" id="{B0DB553A-66B5-A92B-AC41-D24AD90D9EE4}"/>
              </a:ext>
            </a:extLst>
          </p:cNvPr>
          <p:cNvSpPr txBox="1"/>
          <p:nvPr/>
        </p:nvSpPr>
        <p:spPr>
          <a:xfrm>
            <a:off x="3131948" y="2201289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Font typeface="Arial" panose="020B0604020202020204" pitchFamily="34" charset="0"/>
              <a:buNone/>
              <a:defRPr/>
            </a:pPr>
            <a:r>
              <a:rPr lang="fi-FI" sz="7200" b="1" dirty="0">
                <a:solidFill>
                  <a:schemeClr val="accent1"/>
                </a:solidFill>
              </a:rPr>
              <a:t>70%</a:t>
            </a:r>
          </a:p>
        </p:txBody>
      </p:sp>
      <p:sp>
        <p:nvSpPr>
          <p:cNvPr id="16" name="Tekstiruutu 15">
            <a:extLst>
              <a:ext uri="{FF2B5EF4-FFF2-40B4-BE49-F238E27FC236}">
                <a16:creationId xmlns:a16="http://schemas.microsoft.com/office/drawing/2014/main" id="{A3D70B92-1F66-860E-0EAB-E3C24998CD0D}"/>
              </a:ext>
            </a:extLst>
          </p:cNvPr>
          <p:cNvSpPr txBox="1"/>
          <p:nvPr/>
        </p:nvSpPr>
        <p:spPr>
          <a:xfrm>
            <a:off x="8622960" y="2231170"/>
            <a:ext cx="258255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Font typeface="Arial" panose="020B0604020202020204" pitchFamily="34" charset="0"/>
              <a:buNone/>
              <a:defRPr/>
            </a:pPr>
            <a:r>
              <a:rPr lang="fi-FI" sz="7200" b="1" dirty="0">
                <a:solidFill>
                  <a:schemeClr val="accent1"/>
                </a:solidFill>
              </a:rPr>
              <a:t>1</a:t>
            </a:r>
            <a:r>
              <a:rPr lang="fi-FI" sz="7200" b="1" dirty="0">
                <a:solidFill>
                  <a:schemeClr val="accent1"/>
                </a:solidFill>
                <a:sym typeface="Wingdings" panose="05000000000000000000" pitchFamily="2" charset="2"/>
              </a:rPr>
              <a:t>2</a:t>
            </a:r>
            <a:endParaRPr lang="fi-FI" sz="7200" b="1" dirty="0">
              <a:solidFill>
                <a:schemeClr val="accent1"/>
              </a:solidFill>
            </a:endParaRPr>
          </a:p>
        </p:txBody>
      </p:sp>
      <p:sp>
        <p:nvSpPr>
          <p:cNvPr id="19" name="Sisällön paikkamerkki 222">
            <a:extLst>
              <a:ext uri="{FF2B5EF4-FFF2-40B4-BE49-F238E27FC236}">
                <a16:creationId xmlns:a16="http://schemas.microsoft.com/office/drawing/2014/main" id="{87E79CCC-3E14-E1C6-5A37-06E601EE7F44}"/>
              </a:ext>
            </a:extLst>
          </p:cNvPr>
          <p:cNvSpPr txBox="1">
            <a:spLocks/>
          </p:cNvSpPr>
          <p:nvPr/>
        </p:nvSpPr>
        <p:spPr>
          <a:xfrm>
            <a:off x="873233" y="3343754"/>
            <a:ext cx="3144843" cy="1973417"/>
          </a:xfrm>
          <a:prstGeom prst="rect">
            <a:avLst/>
          </a:prstGeom>
        </p:spPr>
        <p:txBody>
          <a:bodyPr tIns="252000" rIns="14400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fi-FI" sz="2000" dirty="0">
                <a:solidFill>
                  <a:schemeClr val="accent1"/>
                </a:solidFill>
              </a:rPr>
              <a:t>kuntien investoinneista. Rakennukset ja infrastruktuuri ovat kuntien suurin varallisuuserä</a:t>
            </a:r>
          </a:p>
          <a:p>
            <a:pPr marL="0" indent="0" algn="ctr">
              <a:buFont typeface="Arial" panose="020B0604020202020204" pitchFamily="34" charset="0"/>
              <a:buNone/>
              <a:defRPr/>
            </a:pPr>
            <a:endParaRPr lang="fi-FI" sz="2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066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tsikko 18">
            <a:extLst>
              <a:ext uri="{FF2B5EF4-FFF2-40B4-BE49-F238E27FC236}">
                <a16:creationId xmlns:a16="http://schemas.microsoft.com/office/drawing/2014/main" id="{7FCF6247-3D50-300C-168A-8D20C6FE45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fi-FI" sz="3000" b="0" i="0" u="none" strike="noStrike" kern="1200" cap="none" spc="0" normalizeH="0" baseline="0" noProof="0" dirty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j-ea"/>
                <a:cs typeface="+mj-cs"/>
              </a:rPr>
              <a:t>Rakentamisen heikkous pysyy talouskasvun suurimpana uhkana</a:t>
            </a:r>
            <a:br>
              <a:rPr kumimoji="0" lang="fi-FI" sz="3000" b="0" i="0" u="none" strike="noStrike" kern="1200" cap="none" spc="0" normalizeH="0" baseline="0" noProof="0" dirty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j-ea"/>
                <a:cs typeface="+mj-cs"/>
              </a:rPr>
            </a:b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j-ea"/>
                <a:cs typeface="+mj-cs"/>
              </a:rPr>
              <a:t> Rakentamisen romahdus oli käytännössä yksin vastuussa Suomen talouden taantumasta viime vuonna</a:t>
            </a:r>
            <a:endParaRPr lang="fi-FI" dirty="0"/>
          </a:p>
        </p:txBody>
      </p:sp>
      <p:graphicFrame>
        <p:nvGraphicFramePr>
          <p:cNvPr id="7" name="Sisällön paikkamerkki 6">
            <a:extLst>
              <a:ext uri="{FF2B5EF4-FFF2-40B4-BE49-F238E27FC236}">
                <a16:creationId xmlns:a16="http://schemas.microsoft.com/office/drawing/2014/main" id="{05912157-4A24-66D3-C34F-1E5ED7993928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407988" y="1628775"/>
          <a:ext cx="5543550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59B228B-2658-CCC6-5BDC-8537EF8446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DF93C1-96B7-43A4-88C3-A796BB2F869C}" type="datetime1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4.2024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30760A9B-85FD-87F3-56DF-82CEC3FE20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© Rakennusteollisuus RT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4749862-6187-22ED-6335-05996AF0B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15" name="Tekstiruutu 14">
            <a:extLst>
              <a:ext uri="{FF2B5EF4-FFF2-40B4-BE49-F238E27FC236}">
                <a16:creationId xmlns:a16="http://schemas.microsoft.com/office/drawing/2014/main" id="{86231A16-F4C2-9DF8-E5A2-1FDDC97B2862}"/>
              </a:ext>
            </a:extLst>
          </p:cNvPr>
          <p:cNvSpPr txBox="1"/>
          <p:nvPr/>
        </p:nvSpPr>
        <p:spPr>
          <a:xfrm>
            <a:off x="3206013" y="4716000"/>
            <a:ext cx="224131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ilastohistorian matalimmat tasot </a:t>
            </a:r>
          </a:p>
        </p:txBody>
      </p:sp>
      <p:cxnSp>
        <p:nvCxnSpPr>
          <p:cNvPr id="16" name="Suora nuoliyhdysviiva 15">
            <a:extLst>
              <a:ext uri="{FF2B5EF4-FFF2-40B4-BE49-F238E27FC236}">
                <a16:creationId xmlns:a16="http://schemas.microsoft.com/office/drawing/2014/main" id="{713008DB-20A9-84CB-8B13-9220D4CDB80F}"/>
              </a:ext>
            </a:extLst>
          </p:cNvPr>
          <p:cNvCxnSpPr>
            <a:cxnSpLocks/>
          </p:cNvCxnSpPr>
          <p:nvPr/>
        </p:nvCxnSpPr>
        <p:spPr>
          <a:xfrm flipV="1">
            <a:off x="5459724" y="4479692"/>
            <a:ext cx="0" cy="380091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latunnisteen paikkamerkki 4">
            <a:extLst>
              <a:ext uri="{FF2B5EF4-FFF2-40B4-BE49-F238E27FC236}">
                <a16:creationId xmlns:a16="http://schemas.microsoft.com/office/drawing/2014/main" id="{02983992-68BC-A02B-9666-C529FF015DD4}"/>
              </a:ext>
            </a:extLst>
          </p:cNvPr>
          <p:cNvSpPr txBox="1">
            <a:spLocks/>
          </p:cNvSpPr>
          <p:nvPr/>
        </p:nvSpPr>
        <p:spPr>
          <a:xfrm>
            <a:off x="5392468" y="6381328"/>
            <a:ext cx="2287707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ähde: Tilastokeskus, RT </a:t>
            </a:r>
          </a:p>
        </p:txBody>
      </p:sp>
      <p:cxnSp>
        <p:nvCxnSpPr>
          <p:cNvPr id="14" name="Suora yhdysviiva 13">
            <a:extLst>
              <a:ext uri="{FF2B5EF4-FFF2-40B4-BE49-F238E27FC236}">
                <a16:creationId xmlns:a16="http://schemas.microsoft.com/office/drawing/2014/main" id="{F8C84E85-2813-8312-A078-51CB2DBF2D4B}"/>
              </a:ext>
            </a:extLst>
          </p:cNvPr>
          <p:cNvCxnSpPr>
            <a:cxnSpLocks/>
          </p:cNvCxnSpPr>
          <p:nvPr/>
        </p:nvCxnSpPr>
        <p:spPr>
          <a:xfrm flipH="1">
            <a:off x="5326049" y="4858833"/>
            <a:ext cx="13084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Sisällön paikkamerkki 7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6240463" y="1628775"/>
          <a:ext cx="5543550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2" name="Tekstiruutu 31">
            <a:extLst>
              <a:ext uri="{FF2B5EF4-FFF2-40B4-BE49-F238E27FC236}">
                <a16:creationId xmlns:a16="http://schemas.microsoft.com/office/drawing/2014/main" id="{DCE32E6C-C233-9816-4B9A-5CEDA80BB3ED}"/>
              </a:ext>
            </a:extLst>
          </p:cNvPr>
          <p:cNvSpPr txBox="1"/>
          <p:nvPr/>
        </p:nvSpPr>
        <p:spPr>
          <a:xfrm>
            <a:off x="1808648" y="2247503"/>
            <a:ext cx="70083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T-kupla</a:t>
            </a:r>
          </a:p>
        </p:txBody>
      </p:sp>
      <p:sp>
        <p:nvSpPr>
          <p:cNvPr id="33" name="Tekstiruutu 32">
            <a:extLst>
              <a:ext uri="{FF2B5EF4-FFF2-40B4-BE49-F238E27FC236}">
                <a16:creationId xmlns:a16="http://schemas.microsoft.com/office/drawing/2014/main" id="{34BDFFBE-29A3-9027-6FC8-67A1CA07457B}"/>
              </a:ext>
            </a:extLst>
          </p:cNvPr>
          <p:cNvSpPr txBox="1"/>
          <p:nvPr/>
        </p:nvSpPr>
        <p:spPr>
          <a:xfrm>
            <a:off x="2846580" y="2247501"/>
            <a:ext cx="10635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inanssikriisi</a:t>
            </a:r>
          </a:p>
        </p:txBody>
      </p:sp>
      <p:sp>
        <p:nvSpPr>
          <p:cNvPr id="34" name="Tekstiruutu 33">
            <a:extLst>
              <a:ext uri="{FF2B5EF4-FFF2-40B4-BE49-F238E27FC236}">
                <a16:creationId xmlns:a16="http://schemas.microsoft.com/office/drawing/2014/main" id="{FEA63936-9A9A-2BC1-B4B0-3D1FDDE7F504}"/>
              </a:ext>
            </a:extLst>
          </p:cNvPr>
          <p:cNvSpPr txBox="1"/>
          <p:nvPr/>
        </p:nvSpPr>
        <p:spPr>
          <a:xfrm>
            <a:off x="3680505" y="2247501"/>
            <a:ext cx="77938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urokriisi</a:t>
            </a:r>
          </a:p>
        </p:txBody>
      </p:sp>
      <p:sp>
        <p:nvSpPr>
          <p:cNvPr id="35" name="Tekstiruutu 34">
            <a:extLst>
              <a:ext uri="{FF2B5EF4-FFF2-40B4-BE49-F238E27FC236}">
                <a16:creationId xmlns:a16="http://schemas.microsoft.com/office/drawing/2014/main" id="{7067F625-C387-A282-CEE5-BED3E74F37C3}"/>
              </a:ext>
            </a:extLst>
          </p:cNvPr>
          <p:cNvSpPr txBox="1"/>
          <p:nvPr/>
        </p:nvSpPr>
        <p:spPr>
          <a:xfrm>
            <a:off x="4824596" y="2242012"/>
            <a:ext cx="82907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andemia</a:t>
            </a:r>
          </a:p>
        </p:txBody>
      </p:sp>
      <p:sp>
        <p:nvSpPr>
          <p:cNvPr id="2" name="Tekstiruutu 1">
            <a:extLst>
              <a:ext uri="{FF2B5EF4-FFF2-40B4-BE49-F238E27FC236}">
                <a16:creationId xmlns:a16="http://schemas.microsoft.com/office/drawing/2014/main" id="{D497DC33-474A-351C-5419-C2B911EC347C}"/>
              </a:ext>
            </a:extLst>
          </p:cNvPr>
          <p:cNvSpPr txBox="1"/>
          <p:nvPr/>
        </p:nvSpPr>
        <p:spPr>
          <a:xfrm>
            <a:off x="5522080" y="2242012"/>
            <a:ext cx="76655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Ukraina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ota</a:t>
            </a:r>
          </a:p>
        </p:txBody>
      </p:sp>
    </p:spTree>
    <p:extLst>
      <p:ext uri="{BB962C8B-B14F-4D97-AF65-F5344CB8AC3E}">
        <p14:creationId xmlns:p14="http://schemas.microsoft.com/office/powerpoint/2010/main" val="261342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uoli: Alas 13">
            <a:extLst>
              <a:ext uri="{FF2B5EF4-FFF2-40B4-BE49-F238E27FC236}">
                <a16:creationId xmlns:a16="http://schemas.microsoft.com/office/drawing/2014/main" id="{9EDB9CA4-AFA6-C9E7-997C-10CCCA5F1462}"/>
              </a:ext>
            </a:extLst>
          </p:cNvPr>
          <p:cNvSpPr/>
          <p:nvPr/>
        </p:nvSpPr>
        <p:spPr>
          <a:xfrm rot="16200000">
            <a:off x="4321810" y="-1706914"/>
            <a:ext cx="2172366" cy="9131826"/>
          </a:xfrm>
          <a:prstGeom prst="downArrow">
            <a:avLst>
              <a:gd name="adj1" fmla="val 50000"/>
              <a:gd name="adj2" fmla="val 1317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6604180-F177-954E-9A54-2A08C08CC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702AF7-4AB5-4C7A-83DD-B1CF6FEE0268}" type="datetime1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4.2024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E47EB8F7-D29A-40D1-940A-4242CC5E7C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© Rakennusteollisuus RT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6FCDC04C-ADF0-FD2B-A11E-546DDCD65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7" name="Otsikko 6">
            <a:extLst>
              <a:ext uri="{FF2B5EF4-FFF2-40B4-BE49-F238E27FC236}">
                <a16:creationId xmlns:a16="http://schemas.microsoft.com/office/drawing/2014/main" id="{12544ADE-4A4D-EC29-BAB1-208347EC0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sz="3300" dirty="0">
                <a:solidFill>
                  <a:srgbClr val="183858"/>
                </a:solidFill>
                <a:latin typeface="Avenir Next LT Pro Demi"/>
              </a:rPr>
              <a:t>Rakentaminen globaalin kustannuskriisin etulinjassa</a:t>
            </a:r>
            <a:br>
              <a:rPr lang="fi-FI" sz="3200" dirty="0"/>
            </a:br>
            <a:r>
              <a:rPr lang="fi-FI" sz="1750" dirty="0">
                <a:solidFill>
                  <a:srgbClr val="183858"/>
                </a:solidFill>
                <a:latin typeface="Avenir Next LT Pro"/>
              </a:rPr>
              <a:t>Rakentaminen on rahamarkkinoiden, finanssipolitiikan ja sääntelyn armoilla</a:t>
            </a:r>
            <a:br>
              <a:rPr lang="fi-FI" sz="3200" b="1" dirty="0">
                <a:solidFill>
                  <a:schemeClr val="accent1"/>
                </a:solidFill>
              </a:rPr>
            </a:br>
            <a:endParaRPr lang="fi-FI" dirty="0"/>
          </a:p>
        </p:txBody>
      </p:sp>
      <p:sp>
        <p:nvSpPr>
          <p:cNvPr id="8" name="Vuokaaviosymboli: Liitin 7">
            <a:extLst>
              <a:ext uri="{FF2B5EF4-FFF2-40B4-BE49-F238E27FC236}">
                <a16:creationId xmlns:a16="http://schemas.microsoft.com/office/drawing/2014/main" id="{F71207D7-4457-8047-32C6-8CCD91F1E1C8}"/>
              </a:ext>
            </a:extLst>
          </p:cNvPr>
          <p:cNvSpPr>
            <a:spLocks noChangeAspect="1"/>
          </p:cNvSpPr>
          <p:nvPr/>
        </p:nvSpPr>
        <p:spPr>
          <a:xfrm>
            <a:off x="6001380" y="1907894"/>
            <a:ext cx="1806611" cy="1806611"/>
          </a:xfrm>
          <a:prstGeom prst="flowChart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oro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0%</a:t>
            </a: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  <a:sym typeface="Wingdings" panose="05000000000000000000" pitchFamily="2" charset="2"/>
              </a:rPr>
              <a:t>4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/20 vs. 12/23</a:t>
            </a: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Vuokaaviosymboli: Liitin 8">
            <a:extLst>
              <a:ext uri="{FF2B5EF4-FFF2-40B4-BE49-F238E27FC236}">
                <a16:creationId xmlns:a16="http://schemas.microsoft.com/office/drawing/2014/main" id="{2D06F7E1-B786-5D97-638D-745A5112A849}"/>
              </a:ext>
            </a:extLst>
          </p:cNvPr>
          <p:cNvSpPr>
            <a:spLocks noChangeAspect="1"/>
          </p:cNvSpPr>
          <p:nvPr/>
        </p:nvSpPr>
        <p:spPr>
          <a:xfrm>
            <a:off x="407988" y="1910490"/>
            <a:ext cx="1806611" cy="1806611"/>
          </a:xfrm>
          <a:prstGeom prst="flowChart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akennus-kustannuks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+18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/20 vs. 12/23</a:t>
            </a: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0" name="Vuokaaviosymboli: Liitin 9">
            <a:extLst>
              <a:ext uri="{FF2B5EF4-FFF2-40B4-BE49-F238E27FC236}">
                <a16:creationId xmlns:a16="http://schemas.microsoft.com/office/drawing/2014/main" id="{2D8F1132-7B14-310F-F65D-1E327276C561}"/>
              </a:ext>
            </a:extLst>
          </p:cNvPr>
          <p:cNvSpPr>
            <a:spLocks noChangeAspect="1"/>
          </p:cNvSpPr>
          <p:nvPr/>
        </p:nvSpPr>
        <p:spPr>
          <a:xfrm>
            <a:off x="9973906" y="1961348"/>
            <a:ext cx="1806611" cy="1806611"/>
          </a:xfrm>
          <a:prstGeom prst="flowChartConnecto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uka maksaa?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+22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2/20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1" name="Vuokaaviosymboli: Liitin 10">
            <a:extLst>
              <a:ext uri="{FF2B5EF4-FFF2-40B4-BE49-F238E27FC236}">
                <a16:creationId xmlns:a16="http://schemas.microsoft.com/office/drawing/2014/main" id="{F7F7BAF4-CCA6-A545-C31D-518497D3E453}"/>
              </a:ext>
            </a:extLst>
          </p:cNvPr>
          <p:cNvSpPr>
            <a:spLocks noChangeAspect="1"/>
          </p:cNvSpPr>
          <p:nvPr/>
        </p:nvSpPr>
        <p:spPr>
          <a:xfrm>
            <a:off x="2280356" y="1907894"/>
            <a:ext cx="1806611" cy="1806611"/>
          </a:xfrm>
          <a:prstGeom prst="flowChart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ahoituksen sääntel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aloyhtiölain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ivan suositus, </a:t>
            </a:r>
            <a:r>
              <a:rPr kumimoji="0" lang="fi-FI" sz="1200" b="0" i="1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ksukyvyttö-myysriski</a:t>
            </a:r>
            <a:r>
              <a:rPr kumimoji="0" lang="fi-FI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</a:p>
        </p:txBody>
      </p:sp>
      <p:sp>
        <p:nvSpPr>
          <p:cNvPr id="2" name="Vuokaaviosymboli: Liitin 1">
            <a:extLst>
              <a:ext uri="{FF2B5EF4-FFF2-40B4-BE49-F238E27FC236}">
                <a16:creationId xmlns:a16="http://schemas.microsoft.com/office/drawing/2014/main" id="{BC2FD513-4AA7-AE79-E51D-E285F944EF37}"/>
              </a:ext>
            </a:extLst>
          </p:cNvPr>
          <p:cNvSpPr>
            <a:spLocks noChangeAspect="1"/>
          </p:cNvSpPr>
          <p:nvPr/>
        </p:nvSpPr>
        <p:spPr>
          <a:xfrm>
            <a:off x="7886638" y="1921903"/>
            <a:ext cx="1806611" cy="1806611"/>
          </a:xfrm>
          <a:prstGeom prst="flowChart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ahoituksen saatavuus ja luotto-politiikk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iristynyt selväst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8" name="Alatunnisteen paikkamerkki 4">
            <a:extLst>
              <a:ext uri="{FF2B5EF4-FFF2-40B4-BE49-F238E27FC236}">
                <a16:creationId xmlns:a16="http://schemas.microsoft.com/office/drawing/2014/main" id="{36CAF81E-D352-3C31-EFD0-022F59498B95}"/>
              </a:ext>
            </a:extLst>
          </p:cNvPr>
          <p:cNvSpPr txBox="1">
            <a:spLocks/>
          </p:cNvSpPr>
          <p:nvPr/>
        </p:nvSpPr>
        <p:spPr>
          <a:xfrm>
            <a:off x="5392468" y="6381328"/>
            <a:ext cx="2287707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ähde: Tilastokeskus, Suomen Pankki, RT</a:t>
            </a:r>
          </a:p>
        </p:txBody>
      </p:sp>
      <p:sp>
        <p:nvSpPr>
          <p:cNvPr id="21" name="Tekstiruutu 20">
            <a:extLst>
              <a:ext uri="{FF2B5EF4-FFF2-40B4-BE49-F238E27FC236}">
                <a16:creationId xmlns:a16="http://schemas.microsoft.com/office/drawing/2014/main" id="{60013A22-C474-F0F4-18B1-FDE86CA752B7}"/>
              </a:ext>
            </a:extLst>
          </p:cNvPr>
          <p:cNvSpPr txBox="1"/>
          <p:nvPr/>
        </p:nvSpPr>
        <p:spPr>
          <a:xfrm>
            <a:off x="2228024" y="4031346"/>
            <a:ext cx="18639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ainanhoitorasitteen yläraja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aloyhtiölainojen enimmäisosuus rajoitus ja lyhennysvapaiden poisto</a:t>
            </a:r>
          </a:p>
        </p:txBody>
      </p:sp>
      <p:sp>
        <p:nvSpPr>
          <p:cNvPr id="22" name="Tekstiruutu 21">
            <a:extLst>
              <a:ext uri="{FF2B5EF4-FFF2-40B4-BE49-F238E27FC236}">
                <a16:creationId xmlns:a16="http://schemas.microsoft.com/office/drawing/2014/main" id="{8D9F91C6-E02D-2A25-8586-E4C2479DDC53}"/>
              </a:ext>
            </a:extLst>
          </p:cNvPr>
          <p:cNvSpPr txBox="1"/>
          <p:nvPr/>
        </p:nvSpPr>
        <p:spPr>
          <a:xfrm>
            <a:off x="7886638" y="4031346"/>
            <a:ext cx="172744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iinteistö- ja rakennusalan lainojen saanti ja ehdot kiristyneet, allokaatiot täynnä</a:t>
            </a:r>
          </a:p>
        </p:txBody>
      </p:sp>
      <p:sp>
        <p:nvSpPr>
          <p:cNvPr id="23" name="Tekstiruutu 22">
            <a:extLst>
              <a:ext uri="{FF2B5EF4-FFF2-40B4-BE49-F238E27FC236}">
                <a16:creationId xmlns:a16="http://schemas.microsoft.com/office/drawing/2014/main" id="{F3FC6952-1C65-7D6A-A29B-CD66D9385662}"/>
              </a:ext>
            </a:extLst>
          </p:cNvPr>
          <p:cNvSpPr txBox="1"/>
          <p:nvPr/>
        </p:nvSpPr>
        <p:spPr>
          <a:xfrm>
            <a:off x="6112931" y="4031346"/>
            <a:ext cx="149430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Kotitalouksien lisäksi myös yrityslainojen korko on noussut historiallisen nopeasti.</a:t>
            </a:r>
          </a:p>
        </p:txBody>
      </p:sp>
      <p:sp>
        <p:nvSpPr>
          <p:cNvPr id="24" name="Tekstiruutu 23">
            <a:extLst>
              <a:ext uri="{FF2B5EF4-FFF2-40B4-BE49-F238E27FC236}">
                <a16:creationId xmlns:a16="http://schemas.microsoft.com/office/drawing/2014/main" id="{5CCE4BB3-F576-1C97-CD2A-7A3EA0EB78F0}"/>
              </a:ext>
            </a:extLst>
          </p:cNvPr>
          <p:cNvSpPr txBox="1"/>
          <p:nvPr/>
        </p:nvSpPr>
        <p:spPr>
          <a:xfrm>
            <a:off x="462226" y="4033942"/>
            <a:ext cx="163518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akennuskustannusten pitkään jatkunut nousu on globaalien markkinoiden takana</a:t>
            </a:r>
          </a:p>
        </p:txBody>
      </p:sp>
      <p:sp>
        <p:nvSpPr>
          <p:cNvPr id="28" name="Tekstiruutu 27">
            <a:extLst>
              <a:ext uri="{FF2B5EF4-FFF2-40B4-BE49-F238E27FC236}">
                <a16:creationId xmlns:a16="http://schemas.microsoft.com/office/drawing/2014/main" id="{F4E7B890-DAD3-6DA3-B8CF-9132CE9D89AC}"/>
              </a:ext>
            </a:extLst>
          </p:cNvPr>
          <p:cNvSpPr txBox="1"/>
          <p:nvPr/>
        </p:nvSpPr>
        <p:spPr>
          <a:xfrm>
            <a:off x="10010012" y="4020425"/>
            <a:ext cx="1828238" cy="553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Uusien ja vanhojen asuntojen hintaindeksin pistelukujen erotus</a:t>
            </a:r>
          </a:p>
        </p:txBody>
      </p:sp>
      <p:sp>
        <p:nvSpPr>
          <p:cNvPr id="3" name="Vuokaaviosymboli: Liitin 2">
            <a:extLst>
              <a:ext uri="{FF2B5EF4-FFF2-40B4-BE49-F238E27FC236}">
                <a16:creationId xmlns:a16="http://schemas.microsoft.com/office/drawing/2014/main" id="{2AB5EE14-D4DD-5DBA-3E97-A7B69C8A1428}"/>
              </a:ext>
            </a:extLst>
          </p:cNvPr>
          <p:cNvSpPr>
            <a:spLocks noChangeAspect="1"/>
          </p:cNvSpPr>
          <p:nvPr/>
        </p:nvSpPr>
        <p:spPr>
          <a:xfrm>
            <a:off x="4140868" y="1907894"/>
            <a:ext cx="1806611" cy="1806611"/>
          </a:xfrm>
          <a:prstGeom prst="flowChart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ontit ja maankäyttö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uokrat- ja maksut, hinnoittelu, ARA-sääntely   </a:t>
            </a:r>
          </a:p>
        </p:txBody>
      </p:sp>
      <p:sp>
        <p:nvSpPr>
          <p:cNvPr id="12" name="Tekstiruutu 11">
            <a:extLst>
              <a:ext uri="{FF2B5EF4-FFF2-40B4-BE49-F238E27FC236}">
                <a16:creationId xmlns:a16="http://schemas.microsoft.com/office/drawing/2014/main" id="{FC7842BB-B869-4531-6034-4C071F591F7D}"/>
              </a:ext>
            </a:extLst>
          </p:cNvPr>
          <p:cNvSpPr txBox="1"/>
          <p:nvPr/>
        </p:nvSpPr>
        <p:spPr>
          <a:xfrm>
            <a:off x="4222584" y="4031346"/>
            <a:ext cx="1806193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ankäyttömaksut ja tonttivuokrat nousussa, tonttien hinnat nollakorkomaailmassa, </a:t>
            </a:r>
            <a:r>
              <a:rPr kumimoji="0" lang="fi-FI" sz="1000" b="0" i="0" u="none" strike="noStrike" kern="1200" cap="none" spc="0" normalizeH="0" baseline="0" noProof="0" err="1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RAn</a:t>
            </a: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säännöt eivät jousta</a:t>
            </a:r>
          </a:p>
        </p:txBody>
      </p:sp>
      <p:sp>
        <p:nvSpPr>
          <p:cNvPr id="15" name="Tekstiruutu 14">
            <a:extLst>
              <a:ext uri="{FF2B5EF4-FFF2-40B4-BE49-F238E27FC236}">
                <a16:creationId xmlns:a16="http://schemas.microsoft.com/office/drawing/2014/main" id="{32949151-2E75-C9FC-0B76-0B9770AEBB67}"/>
              </a:ext>
            </a:extLst>
          </p:cNvPr>
          <p:cNvSpPr txBox="1"/>
          <p:nvPr/>
        </p:nvSpPr>
        <p:spPr>
          <a:xfrm>
            <a:off x="462227" y="5115981"/>
            <a:ext cx="9356833" cy="30777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iikerakentamisen kannattavuusyhtälö on yllä kuvatuista syistä yhtä haasteellinen</a:t>
            </a:r>
          </a:p>
        </p:txBody>
      </p:sp>
    </p:spTree>
    <p:extLst>
      <p:ext uri="{BB962C8B-B14F-4D97-AF65-F5344CB8AC3E}">
        <p14:creationId xmlns:p14="http://schemas.microsoft.com/office/powerpoint/2010/main" val="8790287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829C368-5DB1-C13B-740C-14A8A0848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Suomen erityispiirteet näkyvät nopeasti asuntojen kysynnässä</a:t>
            </a:r>
            <a:br>
              <a:rPr lang="fi-FI" dirty="0"/>
            </a:br>
            <a:r>
              <a:rPr lang="fi-FI" sz="1800" dirty="0">
                <a:solidFill>
                  <a:srgbClr val="183858"/>
                </a:solidFill>
                <a:latin typeface="Avenir Next LT Pro"/>
                <a:ea typeface="+mn-ea"/>
                <a:cs typeface="+mn-cs"/>
              </a:rPr>
              <a:t>Suomalainen ei ota kiinteää lainaa eikä siedä suurta velkataakkaa eikä korkeaa hintatasoa asuntomarkkinoilla</a:t>
            </a:r>
            <a:br>
              <a:rPr lang="fi-FI" dirty="0"/>
            </a:br>
            <a:br>
              <a:rPr lang="fi-FI" dirty="0"/>
            </a:b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50E9009F-F8D2-5D92-64A6-C2F9298976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958439-7D8D-4199-B468-27E28379EC90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CC68A594-0C0D-4B6F-CE9B-A41995C14D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93095FFE-5F74-F29E-BA61-A376AA176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5</a:t>
            </a:fld>
            <a:endParaRPr lang="fi-FI" noProof="0"/>
          </a:p>
        </p:txBody>
      </p:sp>
      <p:sp>
        <p:nvSpPr>
          <p:cNvPr id="17" name="Alatunnisteen paikkamerkki 4">
            <a:extLst>
              <a:ext uri="{FF2B5EF4-FFF2-40B4-BE49-F238E27FC236}">
                <a16:creationId xmlns:a16="http://schemas.microsoft.com/office/drawing/2014/main" id="{4B8BE568-5D60-AE83-9B87-FAB9AAE9F35B}"/>
              </a:ext>
            </a:extLst>
          </p:cNvPr>
          <p:cNvSpPr txBox="1">
            <a:spLocks/>
          </p:cNvSpPr>
          <p:nvPr/>
        </p:nvSpPr>
        <p:spPr>
          <a:xfrm>
            <a:off x="5392468" y="6381328"/>
            <a:ext cx="3943892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ähde: Tilastokeskus, Suomen Pankki</a:t>
            </a:r>
          </a:p>
        </p:txBody>
      </p:sp>
      <p:graphicFrame>
        <p:nvGraphicFramePr>
          <p:cNvPr id="14" name="Sisällön paikkamerkki 7">
            <a:extLst>
              <a:ext uri="{FF2B5EF4-FFF2-40B4-BE49-F238E27FC236}">
                <a16:creationId xmlns:a16="http://schemas.microsoft.com/office/drawing/2014/main" id="{F8F9FF3F-B831-06C0-CFE3-67AB0FC1C7E3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6240463" y="1628775"/>
          <a:ext cx="5543550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0" name="Sisällön paikkamerkki 11" descr="Kuva, joka sisältää kohteen teksti, viiva, diagrammi, Tontti&#10;&#10;Kuvaus luotu automaattisesti">
            <a:extLst>
              <a:ext uri="{FF2B5EF4-FFF2-40B4-BE49-F238E27FC236}">
                <a16:creationId xmlns:a16="http://schemas.microsoft.com/office/drawing/2014/main" id="{213208DB-A5B7-8004-A91B-82AA646BEC3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59" b="13520"/>
          <a:stretch/>
        </p:blipFill>
        <p:spPr>
          <a:xfrm>
            <a:off x="404940" y="2181225"/>
            <a:ext cx="5543550" cy="3619500"/>
          </a:xfrm>
          <a:prstGeom prst="rect">
            <a:avLst/>
          </a:prstGeom>
        </p:spPr>
      </p:pic>
      <p:sp>
        <p:nvSpPr>
          <p:cNvPr id="21" name="Tekstiruutu 20">
            <a:extLst>
              <a:ext uri="{FF2B5EF4-FFF2-40B4-BE49-F238E27FC236}">
                <a16:creationId xmlns:a16="http://schemas.microsoft.com/office/drawing/2014/main" id="{AECBE37B-4A81-6258-79AC-37BA372B041C}"/>
              </a:ext>
            </a:extLst>
          </p:cNvPr>
          <p:cNvSpPr txBox="1"/>
          <p:nvPr/>
        </p:nvSpPr>
        <p:spPr>
          <a:xfrm>
            <a:off x="603378" y="1638722"/>
            <a:ext cx="609600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fi-FI" sz="1400" b="1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Suomalaisten korot nousivat </a:t>
            </a:r>
            <a:r>
              <a:rPr lang="fi-FI" sz="14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muita maita korkeammalle</a:t>
            </a:r>
            <a:r>
              <a:rPr lang="fi-FI" sz="1400" b="1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algn="l" rtl="0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fi-FI" sz="1200" baseline="0" dirty="0"/>
              <a:t>Asuntolainakannan koron muutos ja vaihtuvakorkoisten lainojen osuus (%)</a:t>
            </a:r>
            <a:endParaRPr lang="fi-FI" dirty="0"/>
          </a:p>
        </p:txBody>
      </p:sp>
      <p:sp>
        <p:nvSpPr>
          <p:cNvPr id="23" name="Vuokaaviosymboli: Liitin 22">
            <a:extLst>
              <a:ext uri="{FF2B5EF4-FFF2-40B4-BE49-F238E27FC236}">
                <a16:creationId xmlns:a16="http://schemas.microsoft.com/office/drawing/2014/main" id="{DE1ACDC7-011C-6E46-4B28-6F296B2B5196}"/>
              </a:ext>
            </a:extLst>
          </p:cNvPr>
          <p:cNvSpPr/>
          <p:nvPr/>
        </p:nvSpPr>
        <p:spPr>
          <a:xfrm>
            <a:off x="5412836" y="2931265"/>
            <a:ext cx="457200" cy="457200"/>
          </a:xfrm>
          <a:prstGeom prst="flowChartConnector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Tekstiruutu 23">
            <a:extLst>
              <a:ext uri="{FF2B5EF4-FFF2-40B4-BE49-F238E27FC236}">
                <a16:creationId xmlns:a16="http://schemas.microsoft.com/office/drawing/2014/main" id="{FC3D8CFD-0A02-9CD2-AD6B-CBF4FBBDF1D4}"/>
              </a:ext>
            </a:extLst>
          </p:cNvPr>
          <p:cNvSpPr txBox="1"/>
          <p:nvPr/>
        </p:nvSpPr>
        <p:spPr>
          <a:xfrm rot="16200000">
            <a:off x="11193145" y="3580579"/>
            <a:ext cx="1181734" cy="246221"/>
          </a:xfrm>
          <a:prstGeom prst="rect">
            <a:avLst/>
          </a:prstGeom>
          <a:noFill/>
          <a:ln>
            <a:solidFill>
              <a:srgbClr val="C8102E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fi-FI" sz="10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¹</a:t>
            </a:r>
            <a:r>
              <a:rPr lang="fi-FI" sz="1000" dirty="0">
                <a:solidFill>
                  <a:srgbClr val="C00000"/>
                </a:solidFill>
              </a:rPr>
              <a:t>Lyhennykulttuuri</a:t>
            </a:r>
          </a:p>
        </p:txBody>
      </p:sp>
      <p:cxnSp>
        <p:nvCxnSpPr>
          <p:cNvPr id="26" name="Suora yhdysviiva 25">
            <a:extLst>
              <a:ext uri="{FF2B5EF4-FFF2-40B4-BE49-F238E27FC236}">
                <a16:creationId xmlns:a16="http://schemas.microsoft.com/office/drawing/2014/main" id="{48116627-0830-B84E-052E-7FDADC1FB904}"/>
              </a:ext>
            </a:extLst>
          </p:cNvPr>
          <p:cNvCxnSpPr>
            <a:cxnSpLocks/>
          </p:cNvCxnSpPr>
          <p:nvPr/>
        </p:nvCxnSpPr>
        <p:spPr>
          <a:xfrm>
            <a:off x="11582400" y="2938885"/>
            <a:ext cx="0" cy="1529610"/>
          </a:xfrm>
          <a:prstGeom prst="line">
            <a:avLst/>
          </a:prstGeom>
          <a:ln>
            <a:solidFill>
              <a:srgbClr val="C8102E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kstiruutu 29">
            <a:extLst>
              <a:ext uri="{FF2B5EF4-FFF2-40B4-BE49-F238E27FC236}">
                <a16:creationId xmlns:a16="http://schemas.microsoft.com/office/drawing/2014/main" id="{DD662807-3AEC-02D6-3DF0-4DC54EA64FB3}"/>
              </a:ext>
            </a:extLst>
          </p:cNvPr>
          <p:cNvSpPr txBox="1"/>
          <p:nvPr/>
        </p:nvSpPr>
        <p:spPr>
          <a:xfrm>
            <a:off x="6363577" y="5970627"/>
            <a:ext cx="5420435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i-FI" sz="8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¹</a:t>
            </a:r>
            <a:r>
              <a:rPr lang="fi-FI" sz="800" dirty="0">
                <a:solidFill>
                  <a:srgbClr val="FF0000"/>
                </a:solidFill>
              </a:rPr>
              <a:t> Lyhennyskulttuuri = laina-aika + lyhennysaste. </a:t>
            </a:r>
            <a:r>
              <a:rPr lang="fi-FI" sz="8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hjoismaat eroavat selvästi toisistaan asuntolainojen lyhennyskulttuurissa. </a:t>
            </a:r>
            <a:r>
              <a:rPr lang="fi-FI" sz="800" dirty="0">
                <a:solidFill>
                  <a:srgbClr val="FF0000"/>
                </a:solidFill>
              </a:rPr>
              <a:t>Lyhennysaste tyypillisesti vaikuttaa hintatasoon ja siten asunnon ostokykyyn- ja haluun.</a:t>
            </a:r>
            <a:r>
              <a:rPr lang="fi-FI" sz="1000" dirty="0">
                <a:solidFill>
                  <a:srgbClr val="FF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711184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8">
            <a:extLst>
              <a:ext uri="{FF2B5EF4-FFF2-40B4-BE49-F238E27FC236}">
                <a16:creationId xmlns:a16="http://schemas.microsoft.com/office/drawing/2014/main" id="{131544F0-6E2B-A142-EF7E-73AF685BD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Rahoitus putosi rakentajien alta</a:t>
            </a:r>
            <a:br>
              <a:rPr lang="fi-FI" dirty="0"/>
            </a:br>
            <a:r>
              <a:rPr lang="fi-FI" sz="1800" dirty="0">
                <a:solidFill>
                  <a:srgbClr val="183858"/>
                </a:solidFill>
                <a:latin typeface="Avenir Next LT Pro"/>
              </a:rPr>
              <a:t>Sopeutuminen uuteen rahoitustilanteeseen kesken - pääomat ovat pysyvästi matalammalla tasolla </a:t>
            </a:r>
            <a:br>
              <a:rPr lang="fi-FI" dirty="0"/>
            </a:b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DF3A9C8-70E7-FC3A-8BC4-CD3ACE59C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47014-61DF-4F1C-895F-1CED0D384E1B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1F5DB35-828B-AE96-1D87-8BFA4BCF3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D27DCE01-5869-4AA2-863F-92B409E49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pPr/>
              <a:t>6</a:t>
            </a:fld>
            <a:endParaRPr lang="fi-FI" noProof="0"/>
          </a:p>
        </p:txBody>
      </p:sp>
      <p:graphicFrame>
        <p:nvGraphicFramePr>
          <p:cNvPr id="17" name="Sisällön paikkamerkki 16">
            <a:extLst>
              <a:ext uri="{FF2B5EF4-FFF2-40B4-BE49-F238E27FC236}">
                <a16:creationId xmlns:a16="http://schemas.microsoft.com/office/drawing/2014/main" id="{5C4AF1CA-303E-E15F-AF38-42DCEA74EA47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6240463" y="1628775"/>
          <a:ext cx="5543550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Alatunnisteen paikkamerkki 4">
            <a:extLst>
              <a:ext uri="{FF2B5EF4-FFF2-40B4-BE49-F238E27FC236}">
                <a16:creationId xmlns:a16="http://schemas.microsoft.com/office/drawing/2014/main" id="{60A77F4E-6B13-F775-076F-205C00BE8BCB}"/>
              </a:ext>
            </a:extLst>
          </p:cNvPr>
          <p:cNvSpPr txBox="1">
            <a:spLocks/>
          </p:cNvSpPr>
          <p:nvPr/>
        </p:nvSpPr>
        <p:spPr>
          <a:xfrm>
            <a:off x="5392468" y="6381328"/>
            <a:ext cx="3007787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ähde: Tilastokeskus, Suomen Pankki, KTI</a:t>
            </a:r>
          </a:p>
        </p:txBody>
      </p:sp>
      <p:graphicFrame>
        <p:nvGraphicFramePr>
          <p:cNvPr id="7" name="Sisällön paikkamerkki 6">
            <a:extLst>
              <a:ext uri="{FF2B5EF4-FFF2-40B4-BE49-F238E27FC236}">
                <a16:creationId xmlns:a16="http://schemas.microsoft.com/office/drawing/2014/main" id="{46C2E13C-C5EB-D89F-7C4F-E69B9E47740D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407988" y="1628775"/>
          <a:ext cx="5543550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65190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C444A20-D4C3-6F43-EC82-2B3510E29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fi-FI" sz="3000" b="0" i="0" u="none" strike="noStrike" kern="1200" cap="none" spc="0" normalizeH="0" baseline="0" noProof="0" dirty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j-ea"/>
                <a:cs typeface="+mj-cs"/>
              </a:rPr>
              <a:t>Niukkuus on asuntorakentamisen suurin ongelma</a:t>
            </a:r>
            <a:b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j-ea"/>
                <a:cs typeface="+mj-cs"/>
              </a:rPr>
            </a:b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j-ea"/>
                <a:cs typeface="+mj-cs"/>
              </a:rPr>
              <a:t>Myytävää on suhdanteiseen nähden runsaasti vain hetken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84F9A28-51F8-2746-2504-37B9602D8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DF93C1-96B7-43A4-88C3-A796BB2F869C}" type="datetime1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4.2024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4271C53-953B-5D32-C558-07C550598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© Rakennusteollisuus RT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AEB4FD85-AE26-D35F-4EB3-130FD4089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graphicFrame>
        <p:nvGraphicFramePr>
          <p:cNvPr id="7" name="Sisällön paikkamerkki 6">
            <a:extLst>
              <a:ext uri="{FF2B5EF4-FFF2-40B4-BE49-F238E27FC236}">
                <a16:creationId xmlns:a16="http://schemas.microsoft.com/office/drawing/2014/main" id="{BBEE5C88-E289-1D53-A51A-97F79ACFAD0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07988" y="1628775"/>
          <a:ext cx="11376025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Alatunnisteen paikkamerkki 4">
            <a:extLst>
              <a:ext uri="{FF2B5EF4-FFF2-40B4-BE49-F238E27FC236}">
                <a16:creationId xmlns:a16="http://schemas.microsoft.com/office/drawing/2014/main" id="{09FC0653-DBED-A4DE-EA1D-DA73D2380D02}"/>
              </a:ext>
            </a:extLst>
          </p:cNvPr>
          <p:cNvSpPr txBox="1">
            <a:spLocks/>
          </p:cNvSpPr>
          <p:nvPr/>
        </p:nvSpPr>
        <p:spPr>
          <a:xfrm>
            <a:off x="5392468" y="6377362"/>
            <a:ext cx="4324100" cy="1472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ähde: Tilastokeskus, EK</a:t>
            </a:r>
          </a:p>
        </p:txBody>
      </p:sp>
      <p:sp>
        <p:nvSpPr>
          <p:cNvPr id="9" name="Tekstiruutu 8">
            <a:extLst>
              <a:ext uri="{FF2B5EF4-FFF2-40B4-BE49-F238E27FC236}">
                <a16:creationId xmlns:a16="http://schemas.microsoft.com/office/drawing/2014/main" id="{A16359C9-68AD-D30C-F288-773334A89BF9}"/>
              </a:ext>
            </a:extLst>
          </p:cNvPr>
          <p:cNvSpPr txBox="1"/>
          <p:nvPr/>
        </p:nvSpPr>
        <p:spPr>
          <a:xfrm>
            <a:off x="8203341" y="2927630"/>
            <a:ext cx="32480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>
                <a:ln>
                  <a:noFill/>
                </a:ln>
                <a:solidFill>
                  <a:srgbClr val="31D5C3">
                    <a:lumMod val="75000"/>
                  </a:srgbClr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aljon myymättömiä = rakentajien ongelma</a:t>
            </a:r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4C5853E5-2EC1-DCBE-079A-2C2C3682DC23}"/>
              </a:ext>
            </a:extLst>
          </p:cNvPr>
          <p:cNvSpPr txBox="1"/>
          <p:nvPr/>
        </p:nvSpPr>
        <p:spPr>
          <a:xfrm>
            <a:off x="6805102" y="5033054"/>
            <a:ext cx="33233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ähän myymättömiä = yhteiskunnan ongelma</a:t>
            </a:r>
          </a:p>
        </p:txBody>
      </p:sp>
      <p:cxnSp>
        <p:nvCxnSpPr>
          <p:cNvPr id="12" name="Suora yhdysviiva 11">
            <a:extLst>
              <a:ext uri="{FF2B5EF4-FFF2-40B4-BE49-F238E27FC236}">
                <a16:creationId xmlns:a16="http://schemas.microsoft.com/office/drawing/2014/main" id="{DB9339D3-AB83-EDDD-DB80-18768916870B}"/>
              </a:ext>
            </a:extLst>
          </p:cNvPr>
          <p:cNvCxnSpPr>
            <a:cxnSpLocks/>
          </p:cNvCxnSpPr>
          <p:nvPr/>
        </p:nvCxnSpPr>
        <p:spPr>
          <a:xfrm flipH="1">
            <a:off x="8112224" y="3091137"/>
            <a:ext cx="216024" cy="191993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uora yhdysviiva 13">
            <a:extLst>
              <a:ext uri="{FF2B5EF4-FFF2-40B4-BE49-F238E27FC236}">
                <a16:creationId xmlns:a16="http://schemas.microsoft.com/office/drawing/2014/main" id="{5DD8D42E-A63E-AAFA-F812-AA7DC58CEB54}"/>
              </a:ext>
            </a:extLst>
          </p:cNvPr>
          <p:cNvCxnSpPr>
            <a:cxnSpLocks/>
            <a:stCxn id="10" idx="3"/>
          </p:cNvCxnSpPr>
          <p:nvPr/>
        </p:nvCxnSpPr>
        <p:spPr>
          <a:xfrm flipV="1">
            <a:off x="10128448" y="4939164"/>
            <a:ext cx="144016" cy="224695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21429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Sisällön paikkamerkki 7">
            <a:extLst>
              <a:ext uri="{FF2B5EF4-FFF2-40B4-BE49-F238E27FC236}">
                <a16:creationId xmlns:a16="http://schemas.microsoft.com/office/drawing/2014/main" id="{F05B4F1D-AFD2-883F-E901-445154114854}"/>
              </a:ext>
            </a:extLst>
          </p:cNvPr>
          <p:cNvGraphicFramePr>
            <a:graphicFrameLocks noGrp="1"/>
          </p:cNvGraphicFramePr>
          <p:nvPr>
            <p:ph sz="half" idx="14"/>
          </p:nvPr>
        </p:nvGraphicFramePr>
        <p:xfrm>
          <a:off x="8183563" y="2210273"/>
          <a:ext cx="3600450" cy="3882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AD1D452B-F1B1-62CA-A845-59C0C6DE8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Asuntorakentaminen ja -markkinat pyörivät velkarahalla</a:t>
            </a:r>
            <a:br>
              <a:rPr lang="fi-FI" dirty="0"/>
            </a:br>
            <a:r>
              <a:rPr lang="fi-FI" sz="1800" dirty="0">
                <a:solidFill>
                  <a:srgbClr val="183858"/>
                </a:solidFill>
                <a:latin typeface="Avenir Next LT Pro"/>
              </a:rPr>
              <a:t>Tällä hetkellä arviolta 5 -10 prosenttia projekteista saa RS-laina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68302F7E-74F2-9DCD-EC6B-59A9AA64E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0A3ED-138B-454C-A969-5502CF465F06}" type="datetime1">
              <a:rPr lang="fi-FI" noProof="0" smtClean="0"/>
              <a:t>21.4.2024</a:t>
            </a:fld>
            <a:endParaRPr lang="fi-FI" noProof="0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ABE18FD0-2A70-3EC3-335E-702D8223A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1E11567D-D4B0-6BB9-920B-8DFF72203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8</a:t>
            </a:fld>
            <a:endParaRPr lang="fi-FI" noProof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15E2C-5026-0291-967B-D1AA1EB9AEF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06699" y="1489224"/>
            <a:ext cx="3600450" cy="576064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fi-FI" dirty="0">
                <a:solidFill>
                  <a:schemeClr val="bg1"/>
                </a:solidFill>
              </a:rPr>
              <a:t>Vapaarahoitteisen varassa </a:t>
            </a:r>
          </a:p>
          <a:p>
            <a:pPr algn="ctr"/>
            <a:r>
              <a:rPr lang="fi-FI" sz="1400" dirty="0">
                <a:solidFill>
                  <a:schemeClr val="bg1"/>
                </a:solidFill>
                <a:latin typeface="Avenir Next LT Pro"/>
              </a:rPr>
              <a:t>lainoitusaste 80 %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E820EE0A-2D70-35C5-AD63-030ADE7A49A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295131" y="1489224"/>
            <a:ext cx="3600450" cy="576064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fi-FI" dirty="0">
                <a:solidFill>
                  <a:schemeClr val="bg1"/>
                </a:solidFill>
              </a:rPr>
              <a:t>Asuntokaupan arvo 20 mrd. € </a:t>
            </a:r>
            <a:r>
              <a:rPr lang="fi-FI" sz="1400" dirty="0">
                <a:solidFill>
                  <a:schemeClr val="bg1"/>
                </a:solidFill>
                <a:latin typeface="Avenir Next LT Pro"/>
              </a:rPr>
              <a:t>lainoitusaste 90 %</a:t>
            </a:r>
          </a:p>
        </p:txBody>
      </p:sp>
      <p:sp>
        <p:nvSpPr>
          <p:cNvPr id="11" name="Tekstin paikkamerkki 10">
            <a:extLst>
              <a:ext uri="{FF2B5EF4-FFF2-40B4-BE49-F238E27FC236}">
                <a16:creationId xmlns:a16="http://schemas.microsoft.com/office/drawing/2014/main" id="{2BFDCBDA-FBAC-26F6-8A57-366BD23DB651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183563" y="1489224"/>
            <a:ext cx="3600450" cy="576064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fi-FI" dirty="0">
                <a:solidFill>
                  <a:schemeClr val="bg1"/>
                </a:solidFill>
              </a:rPr>
              <a:t>Asuntovarallisuus 342 mrd. € </a:t>
            </a:r>
            <a:r>
              <a:rPr lang="fi-FI" sz="1400" dirty="0">
                <a:solidFill>
                  <a:schemeClr val="bg1"/>
                </a:solidFill>
                <a:latin typeface="Avenir Next LT Pro"/>
              </a:rPr>
              <a:t>lainoitusaste 46 %</a:t>
            </a:r>
          </a:p>
        </p:txBody>
      </p:sp>
      <p:sp>
        <p:nvSpPr>
          <p:cNvPr id="20" name="Tekstiruutu 19">
            <a:extLst>
              <a:ext uri="{FF2B5EF4-FFF2-40B4-BE49-F238E27FC236}">
                <a16:creationId xmlns:a16="http://schemas.microsoft.com/office/drawing/2014/main" id="{FCDB7AB0-1FAA-A3F7-5C23-5634059C5D44}"/>
              </a:ext>
            </a:extLst>
          </p:cNvPr>
          <p:cNvSpPr txBox="1"/>
          <p:nvPr/>
        </p:nvSpPr>
        <p:spPr>
          <a:xfrm>
            <a:off x="9304338" y="3643716"/>
            <a:ext cx="13589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sz="2000" b="1" i="0" dirty="0">
                <a:solidFill>
                  <a:schemeClr val="accent1"/>
                </a:solidFill>
                <a:effectLst/>
                <a:latin typeface="Publico"/>
              </a:rPr>
              <a:t>342</a:t>
            </a:r>
            <a:r>
              <a:rPr lang="fi-FI" sz="2000" b="0" i="0" dirty="0">
                <a:solidFill>
                  <a:schemeClr val="accent1"/>
                </a:solidFill>
                <a:effectLst/>
                <a:latin typeface="Publico"/>
              </a:rPr>
              <a:t> miljardia euroa </a:t>
            </a:r>
            <a:endParaRPr lang="fi-FI" sz="2000" dirty="0">
              <a:solidFill>
                <a:schemeClr val="accent1"/>
              </a:solidFill>
            </a:endParaRPr>
          </a:p>
        </p:txBody>
      </p:sp>
      <p:graphicFrame>
        <p:nvGraphicFramePr>
          <p:cNvPr id="24" name="Sisällön paikkamerkki 23">
            <a:extLst>
              <a:ext uri="{FF2B5EF4-FFF2-40B4-BE49-F238E27FC236}">
                <a16:creationId xmlns:a16="http://schemas.microsoft.com/office/drawing/2014/main" id="{93AE0A11-685A-5B0D-0D1E-E1FC60BDCEF3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4295775" y="2210273"/>
          <a:ext cx="3600450" cy="3882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" name="Sisällön paikkamerkki 25">
            <a:extLst>
              <a:ext uri="{FF2B5EF4-FFF2-40B4-BE49-F238E27FC236}">
                <a16:creationId xmlns:a16="http://schemas.microsoft.com/office/drawing/2014/main" id="{7EDD2113-339A-FBF7-5C5C-9655C59E8B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369" y="2210273"/>
            <a:ext cx="3599780" cy="3882551"/>
          </a:xfrm>
          <a:solidFill>
            <a:srgbClr val="183858">
              <a:alpha val="5882"/>
            </a:srgbClr>
          </a:solidFill>
        </p:spPr>
        <p:txBody>
          <a:bodyPr tIns="216000"/>
          <a:lstStyle/>
          <a:p>
            <a:pPr marL="0" indent="0">
              <a:buNone/>
            </a:pPr>
            <a:r>
              <a:rPr lang="fi-FI" sz="1400" b="1" dirty="0">
                <a:solidFill>
                  <a:schemeClr val="accent1"/>
                </a:solidFill>
              </a:rPr>
              <a:t>Huippuvuoden aloitukset 48 000</a:t>
            </a:r>
          </a:p>
          <a:p>
            <a:pPr marL="0" indent="0">
              <a:buNone/>
            </a:pPr>
            <a:r>
              <a:rPr lang="fi-FI" sz="1400" dirty="0">
                <a:solidFill>
                  <a:schemeClr val="accent1"/>
                </a:solidFill>
              </a:rPr>
              <a:t>Rivi-, pari- ja omakotitaloja 10 000</a:t>
            </a:r>
          </a:p>
          <a:p>
            <a:pPr marL="0" indent="0">
              <a:buNone/>
            </a:pPr>
            <a:endParaRPr lang="fi-FI" sz="1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fi-FI" sz="1400" b="1" dirty="0">
                <a:solidFill>
                  <a:schemeClr val="accent1"/>
                </a:solidFill>
              </a:rPr>
              <a:t>Kerrostaloja	38 000</a:t>
            </a:r>
          </a:p>
          <a:p>
            <a:pPr marL="0" indent="0">
              <a:buNone/>
            </a:pPr>
            <a:r>
              <a:rPr lang="fi-FI" sz="1400" dirty="0">
                <a:solidFill>
                  <a:schemeClr val="accent1"/>
                </a:solidFill>
              </a:rPr>
              <a:t>Erilaista Araa	8 000	</a:t>
            </a:r>
          </a:p>
          <a:p>
            <a:pPr marL="0" indent="0">
              <a:buNone/>
            </a:pPr>
            <a:endParaRPr lang="fi-FI" sz="14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fi-FI" sz="1400" b="1" dirty="0">
                <a:solidFill>
                  <a:schemeClr val="accent1"/>
                </a:solidFill>
              </a:rPr>
              <a:t>Markkinaehtoiset aloitukset 30 000</a:t>
            </a:r>
          </a:p>
          <a:p>
            <a:pPr marL="0" indent="0">
              <a:buNone/>
            </a:pPr>
            <a:r>
              <a:rPr lang="fi-FI" sz="1400" dirty="0">
                <a:solidFill>
                  <a:schemeClr val="accent1"/>
                </a:solidFill>
              </a:rPr>
              <a:t>Talo kerrallaan sijoittajilla 15 000</a:t>
            </a:r>
          </a:p>
          <a:p>
            <a:pPr marL="0" indent="0">
              <a:buNone/>
            </a:pPr>
            <a:r>
              <a:rPr lang="fi-FI" sz="1400" dirty="0">
                <a:solidFill>
                  <a:schemeClr val="accent1"/>
                </a:solidFill>
              </a:rPr>
              <a:t>Perustajaurakointia 15 000</a:t>
            </a:r>
          </a:p>
          <a:p>
            <a:pPr marL="0" indent="0">
              <a:buNone/>
            </a:pPr>
            <a:r>
              <a:rPr lang="fi-FI" sz="1400" dirty="0">
                <a:solidFill>
                  <a:schemeClr val="accent1"/>
                </a:solidFill>
              </a:rPr>
              <a:t>    Piensijoittajille 7 500</a:t>
            </a:r>
          </a:p>
          <a:p>
            <a:pPr marL="0" indent="0">
              <a:buNone/>
            </a:pPr>
            <a:r>
              <a:rPr lang="fi-FI" sz="1400" dirty="0">
                <a:solidFill>
                  <a:schemeClr val="accent1"/>
                </a:solidFill>
              </a:rPr>
              <a:t>    Perheiden omaan käyttöön 7 500</a:t>
            </a:r>
          </a:p>
          <a:p>
            <a:pPr marL="0" indent="0">
              <a:buNone/>
            </a:pPr>
            <a:endParaRPr lang="fi-FI" sz="1200" dirty="0"/>
          </a:p>
        </p:txBody>
      </p:sp>
      <p:sp>
        <p:nvSpPr>
          <p:cNvPr id="29" name="Tekstiruutu 28">
            <a:extLst>
              <a:ext uri="{FF2B5EF4-FFF2-40B4-BE49-F238E27FC236}">
                <a16:creationId xmlns:a16="http://schemas.microsoft.com/office/drawing/2014/main" id="{7AEC6A98-B10B-075F-6C62-493F66C31791}"/>
              </a:ext>
            </a:extLst>
          </p:cNvPr>
          <p:cNvSpPr txBox="1"/>
          <p:nvPr/>
        </p:nvSpPr>
        <p:spPr>
          <a:xfrm>
            <a:off x="6174538" y="5519621"/>
            <a:ext cx="177973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sz="1200" b="1" dirty="0">
                <a:solidFill>
                  <a:schemeClr val="accent1"/>
                </a:solidFill>
              </a:rPr>
              <a:t>Lainaa 90 % </a:t>
            </a:r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4B6D84DA-BF72-12F4-A20F-80D3649F442E}"/>
              </a:ext>
            </a:extLst>
          </p:cNvPr>
          <p:cNvSpPr txBox="1"/>
          <p:nvPr/>
        </p:nvSpPr>
        <p:spPr>
          <a:xfrm>
            <a:off x="10084982" y="5398140"/>
            <a:ext cx="18151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sz="1200" b="1" dirty="0">
                <a:solidFill>
                  <a:schemeClr val="accent1"/>
                </a:solidFill>
              </a:rPr>
              <a:t>Omistus-</a:t>
            </a:r>
          </a:p>
          <a:p>
            <a:pPr algn="ctr"/>
            <a:r>
              <a:rPr lang="fi-FI" sz="1200" b="1" dirty="0">
                <a:solidFill>
                  <a:schemeClr val="accent1"/>
                </a:solidFill>
              </a:rPr>
              <a:t>asuminen 69 % </a:t>
            </a:r>
          </a:p>
        </p:txBody>
      </p:sp>
      <p:sp>
        <p:nvSpPr>
          <p:cNvPr id="12" name="Tekstiruutu 11">
            <a:extLst>
              <a:ext uri="{FF2B5EF4-FFF2-40B4-BE49-F238E27FC236}">
                <a16:creationId xmlns:a16="http://schemas.microsoft.com/office/drawing/2014/main" id="{45157364-8753-6E44-52CB-51A4F08A8519}"/>
              </a:ext>
            </a:extLst>
          </p:cNvPr>
          <p:cNvSpPr txBox="1"/>
          <p:nvPr/>
        </p:nvSpPr>
        <p:spPr>
          <a:xfrm>
            <a:off x="8359715" y="2364627"/>
            <a:ext cx="161573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sz="1200" b="1" dirty="0">
                <a:solidFill>
                  <a:schemeClr val="accent1"/>
                </a:solidFill>
              </a:rPr>
              <a:t>Vuokra-asuminen ym. 31 % </a:t>
            </a:r>
          </a:p>
        </p:txBody>
      </p:sp>
      <p:sp>
        <p:nvSpPr>
          <p:cNvPr id="14" name="Tekstiruutu 13">
            <a:extLst>
              <a:ext uri="{FF2B5EF4-FFF2-40B4-BE49-F238E27FC236}">
                <a16:creationId xmlns:a16="http://schemas.microsoft.com/office/drawing/2014/main" id="{D448E99C-3AB8-BA2A-29A6-C984DFD30F55}"/>
              </a:ext>
            </a:extLst>
          </p:cNvPr>
          <p:cNvSpPr txBox="1"/>
          <p:nvPr/>
        </p:nvSpPr>
        <p:spPr>
          <a:xfrm>
            <a:off x="4236441" y="2353792"/>
            <a:ext cx="177973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sz="1200" b="1" dirty="0">
                <a:solidFill>
                  <a:schemeClr val="accent1"/>
                </a:solidFill>
              </a:rPr>
              <a:t>Omaa </a:t>
            </a:r>
          </a:p>
          <a:p>
            <a:pPr algn="ctr"/>
            <a:r>
              <a:rPr lang="fi-FI" sz="1200" b="1" dirty="0">
                <a:solidFill>
                  <a:schemeClr val="accent1"/>
                </a:solidFill>
              </a:rPr>
              <a:t>pääomaa 10 % </a:t>
            </a:r>
          </a:p>
        </p:txBody>
      </p:sp>
      <p:sp>
        <p:nvSpPr>
          <p:cNvPr id="15" name="Alatunnisteen paikkamerkki 4">
            <a:extLst>
              <a:ext uri="{FF2B5EF4-FFF2-40B4-BE49-F238E27FC236}">
                <a16:creationId xmlns:a16="http://schemas.microsoft.com/office/drawing/2014/main" id="{C6E0FFB3-A163-0077-91E5-0F2822F1E396}"/>
              </a:ext>
            </a:extLst>
          </p:cNvPr>
          <p:cNvSpPr txBox="1">
            <a:spLocks/>
          </p:cNvSpPr>
          <p:nvPr/>
        </p:nvSpPr>
        <p:spPr>
          <a:xfrm>
            <a:off x="5392468" y="6381328"/>
            <a:ext cx="2549265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ähde: Tilastokeskus, Suomen Pankki, KVKL</a:t>
            </a:r>
          </a:p>
        </p:txBody>
      </p:sp>
    </p:spTree>
    <p:extLst>
      <p:ext uri="{BB962C8B-B14F-4D97-AF65-F5344CB8AC3E}">
        <p14:creationId xmlns:p14="http://schemas.microsoft.com/office/powerpoint/2010/main" val="1406250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475BE94-F61F-CF3C-8D8B-E6395CF0C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Yhtälö juuri nyt mahdoton</a:t>
            </a:r>
            <a:br>
              <a:rPr lang="fi-FI" dirty="0"/>
            </a:br>
            <a:r>
              <a:rPr lang="fi-FI" sz="1800" dirty="0">
                <a:latin typeface="+mn-lt"/>
              </a:rPr>
              <a:t>Kuka pystyy ratkomaan? Rakentaja, kuluttaja, EKP, valtio, kaupunki?</a:t>
            </a:r>
            <a:endParaRPr lang="fi-FI" dirty="0">
              <a:latin typeface="+mn-lt"/>
            </a:endParaRP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A564494-CD66-C37D-9CD8-D5084B96D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DF93C1-96B7-43A4-88C3-A796BB2F869C}" type="datetime1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4.2024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319E7C95-5805-B279-9FBD-B756F474B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© Rakennusteollisuus RT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4DCF2AE-BEB2-D275-DA7B-2CEE2F380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graphicFrame>
        <p:nvGraphicFramePr>
          <p:cNvPr id="7" name="Sisällön paikkamerkki 6">
            <a:extLst>
              <a:ext uri="{FF2B5EF4-FFF2-40B4-BE49-F238E27FC236}">
                <a16:creationId xmlns:a16="http://schemas.microsoft.com/office/drawing/2014/main" id="{8649CABB-C64F-0510-3D77-C3F019A6C75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07988" y="1628775"/>
          <a:ext cx="11376025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Alatunnisteen paikkamerkki 4">
            <a:extLst>
              <a:ext uri="{FF2B5EF4-FFF2-40B4-BE49-F238E27FC236}">
                <a16:creationId xmlns:a16="http://schemas.microsoft.com/office/drawing/2014/main" id="{DB0D302B-DC07-74F4-B36D-75B49EE814A6}"/>
              </a:ext>
            </a:extLst>
          </p:cNvPr>
          <p:cNvSpPr txBox="1">
            <a:spLocks/>
          </p:cNvSpPr>
          <p:nvPr/>
        </p:nvSpPr>
        <p:spPr>
          <a:xfrm>
            <a:off x="5392468" y="6381328"/>
            <a:ext cx="2935780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ähde: Tilastokeskus, Suomen Pankki</a:t>
            </a:r>
          </a:p>
        </p:txBody>
      </p:sp>
    </p:spTree>
    <p:extLst>
      <p:ext uri="{BB962C8B-B14F-4D97-AF65-F5344CB8AC3E}">
        <p14:creationId xmlns:p14="http://schemas.microsoft.com/office/powerpoint/2010/main" val="1065281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T rakennusteollisuus">
  <a:themeElements>
    <a:clrScheme name="RT rakennusteollisuus">
      <a:dk1>
        <a:sysClr val="windowText" lastClr="000000"/>
      </a:dk1>
      <a:lt1>
        <a:sysClr val="window" lastClr="FFFFFF"/>
      </a:lt1>
      <a:dk2>
        <a:srgbClr val="ABB4BE"/>
      </a:dk2>
      <a:lt2>
        <a:srgbClr val="EEE3CF"/>
      </a:lt2>
      <a:accent1>
        <a:srgbClr val="183858"/>
      </a:accent1>
      <a:accent2>
        <a:srgbClr val="346DE3"/>
      </a:accent2>
      <a:accent3>
        <a:srgbClr val="31D5C3"/>
      </a:accent3>
      <a:accent4>
        <a:srgbClr val="399B65"/>
      </a:accent4>
      <a:accent5>
        <a:srgbClr val="F1B323"/>
      </a:accent5>
      <a:accent6>
        <a:srgbClr val="D65E3F"/>
      </a:accent6>
      <a:hlink>
        <a:srgbClr val="346DE3"/>
      </a:hlink>
      <a:folHlink>
        <a:srgbClr val="346DE3"/>
      </a:folHlink>
    </a:clrScheme>
    <a:fontScheme name="RT rakennusteollisuus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rt_malli.potx" id="{42D3E08F-257D-4566-8F6D-E67F1F30C561}" vid="{FB24B6D7-0542-45C7-B6D4-443929792A35}"/>
    </a:ext>
  </a:extLst>
</a:theme>
</file>

<file path=ppt/theme/theme2.xml><?xml version="1.0" encoding="utf-8"?>
<a:theme xmlns:a="http://schemas.openxmlformats.org/drawingml/2006/main" name="8_RT_Excel_PP">
  <a:themeElements>
    <a:clrScheme name="RT_VÄRIT">
      <a:dk1>
        <a:srgbClr val="000000"/>
      </a:dk1>
      <a:lt1>
        <a:srgbClr val="FFFFFF"/>
      </a:lt1>
      <a:dk2>
        <a:srgbClr val="002565"/>
      </a:dk2>
      <a:lt2>
        <a:srgbClr val="51C6E2"/>
      </a:lt2>
      <a:accent1>
        <a:srgbClr val="68B5CA"/>
      </a:accent1>
      <a:accent2>
        <a:srgbClr val="002565"/>
      </a:accent2>
      <a:accent3>
        <a:srgbClr val="FFED00"/>
      </a:accent3>
      <a:accent4>
        <a:srgbClr val="EB690B"/>
      </a:accent4>
      <a:accent5>
        <a:srgbClr val="9FB400"/>
      </a:accent5>
      <a:accent6>
        <a:srgbClr val="5E8500"/>
      </a:accent6>
      <a:hlink>
        <a:srgbClr val="0F4BB4"/>
      </a:hlink>
      <a:folHlink>
        <a:srgbClr val="002565"/>
      </a:folHlink>
    </a:clrScheme>
    <a:fontScheme name="R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6" id="{EBF8CC04-C471-D144-9622-CF6F49C3A300}" vid="{7298FFE6-3861-614B-8752-BDB628E2335C}"/>
    </a:ext>
  </a:extLst>
</a:theme>
</file>

<file path=ppt/theme/theme3.xml><?xml version="1.0" encoding="utf-8"?>
<a:theme xmlns:a="http://schemas.openxmlformats.org/drawingml/2006/main" name="1_RT rakennusteollisuus">
  <a:themeElements>
    <a:clrScheme name="RT rakennusteollisuus">
      <a:dk1>
        <a:sysClr val="windowText" lastClr="000000"/>
      </a:dk1>
      <a:lt1>
        <a:sysClr val="window" lastClr="FFFFFF"/>
      </a:lt1>
      <a:dk2>
        <a:srgbClr val="ABB4BE"/>
      </a:dk2>
      <a:lt2>
        <a:srgbClr val="EEE3CF"/>
      </a:lt2>
      <a:accent1>
        <a:srgbClr val="183858"/>
      </a:accent1>
      <a:accent2>
        <a:srgbClr val="346DE3"/>
      </a:accent2>
      <a:accent3>
        <a:srgbClr val="31D5C3"/>
      </a:accent3>
      <a:accent4>
        <a:srgbClr val="399B65"/>
      </a:accent4>
      <a:accent5>
        <a:srgbClr val="F1B323"/>
      </a:accent5>
      <a:accent6>
        <a:srgbClr val="D65E3F"/>
      </a:accent6>
      <a:hlink>
        <a:srgbClr val="346DE3"/>
      </a:hlink>
      <a:folHlink>
        <a:srgbClr val="346DE3"/>
      </a:folHlink>
    </a:clrScheme>
    <a:fontScheme name="RT rakennusteollisuus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rt_malli.potx" id="{E3CAB407-4FDA-43AC-BC78-8454F37BE9D2}" vid="{D09B5F97-6430-4C5E-93E4-7D9D7E0565E7}"/>
    </a:ext>
  </a:extLst>
</a:theme>
</file>

<file path=ppt/theme/theme4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41</TotalTime>
  <Words>1345</Words>
  <Application>Microsoft Office PowerPoint</Application>
  <PresentationFormat>Laajakuva</PresentationFormat>
  <Paragraphs>331</Paragraphs>
  <Slides>13</Slides>
  <Notes>7</Notes>
  <HiddenSlides>0</HiddenSlides>
  <MMClips>0</MMClips>
  <ScaleCrop>false</ScaleCrop>
  <HeadingPairs>
    <vt:vector size="8" baseType="variant">
      <vt:variant>
        <vt:lpstr>Käytetyt fontit</vt:lpstr>
      </vt:variant>
      <vt:variant>
        <vt:i4>7</vt:i4>
      </vt:variant>
      <vt:variant>
        <vt:lpstr>Teema</vt:lpstr>
      </vt:variant>
      <vt:variant>
        <vt:i4>3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3</vt:i4>
      </vt:variant>
    </vt:vector>
  </HeadingPairs>
  <TitlesOfParts>
    <vt:vector size="24" baseType="lpstr">
      <vt:lpstr>Arial</vt:lpstr>
      <vt:lpstr>Avenir Next LT Pro</vt:lpstr>
      <vt:lpstr>Avenir Next LT Pro Demi</vt:lpstr>
      <vt:lpstr>Calibri</vt:lpstr>
      <vt:lpstr>Helvetica</vt:lpstr>
      <vt:lpstr>Publico</vt:lpstr>
      <vt:lpstr>Wingdings</vt:lpstr>
      <vt:lpstr>RT rakennusteollisuus</vt:lpstr>
      <vt:lpstr>8_RT_Excel_PP</vt:lpstr>
      <vt:lpstr>1_RT rakennusteollisuus</vt:lpstr>
      <vt:lpstr>think-cell Slide</vt:lpstr>
      <vt:lpstr>Ratkaisuja vaaditaan lopulta kunnilta ja kaupungeilta  Kohtuuhintaisen asumisen ja  talouskasvun ura karkaa</vt:lpstr>
      <vt:lpstr>PowerPoint-esitys</vt:lpstr>
      <vt:lpstr>Rakentamisen heikkous pysyy talouskasvun suurimpana uhkana  Rakentamisen romahdus oli käytännössä yksin vastuussa Suomen talouden taantumasta viime vuonna</vt:lpstr>
      <vt:lpstr>Rakentaminen globaalin kustannuskriisin etulinjassa Rakentaminen on rahamarkkinoiden, finanssipolitiikan ja sääntelyn armoilla </vt:lpstr>
      <vt:lpstr>Suomen erityispiirteet näkyvät nopeasti asuntojen kysynnässä Suomalainen ei ota kiinteää lainaa eikä siedä suurta velkataakkaa eikä korkeaa hintatasoa asuntomarkkinoilla  </vt:lpstr>
      <vt:lpstr>Rahoitus putosi rakentajien alta Sopeutuminen uuteen rahoitustilanteeseen kesken - pääomat ovat pysyvästi matalammalla tasolla  </vt:lpstr>
      <vt:lpstr>Niukkuus on asuntorakentamisen suurin ongelma Myytävää on suhdanteiseen nähden runsaasti vain hetken</vt:lpstr>
      <vt:lpstr>Asuntorakentaminen ja -markkinat pyörivät velkarahalla Tällä hetkellä arviolta 5 -10 prosenttia projekteista saa RS-lainaa</vt:lpstr>
      <vt:lpstr>Yhtälö juuri nyt mahdoton Kuka pystyy ratkomaan? Rakentaja, kuluttaja, EKP, valtio, kaupunki?</vt:lpstr>
      <vt:lpstr>Tarve asunnoille ei ole hävinnyt Kasvukeskuksiin pitää rakentaa uutta, muualla pitää vähintään korjata ja koko Suomi pitää yhdistää logistisesti</vt:lpstr>
      <vt:lpstr>PowerPoint-esitys</vt:lpstr>
      <vt:lpstr>Rakennusteollisuuden ehdotukset rakennusalan tukemiseksi 2024-2027  </vt:lpstr>
      <vt:lpstr>PowerPoint-esity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in rakentaminen auttaa – yritysten pitää päästä rakentamaan ”Fit for 2027” viides kriisi eli nyt kaikki mehut poissa</dc:title>
  <dc:creator>Vihmo Jouni</dc:creator>
  <cp:lastModifiedBy>Vihmo Jouni</cp:lastModifiedBy>
  <cp:revision>3</cp:revision>
  <dcterms:created xsi:type="dcterms:W3CDTF">2024-01-08T12:18:48Z</dcterms:created>
  <dcterms:modified xsi:type="dcterms:W3CDTF">2024-04-21T06:41:31Z</dcterms:modified>
</cp:coreProperties>
</file>